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371" r:id="rId5"/>
    <p:sldId id="970" r:id="rId6"/>
    <p:sldId id="593" r:id="rId7"/>
    <p:sldId id="592" r:id="rId8"/>
    <p:sldId id="578" r:id="rId9"/>
    <p:sldId id="395" r:id="rId10"/>
    <p:sldId id="594" r:id="rId11"/>
    <p:sldId id="968" r:id="rId12"/>
    <p:sldId id="597" r:id="rId13"/>
    <p:sldId id="972" r:id="rId14"/>
    <p:sldId id="973" r:id="rId15"/>
    <p:sldId id="598" r:id="rId16"/>
    <p:sldId id="596" r:id="rId17"/>
    <p:sldId id="600" r:id="rId18"/>
    <p:sldId id="965" r:id="rId19"/>
    <p:sldId id="966" r:id="rId20"/>
    <p:sldId id="967" r:id="rId21"/>
    <p:sldId id="654" r:id="rId22"/>
    <p:sldId id="969" r:id="rId23"/>
    <p:sldId id="964" r:id="rId24"/>
    <p:sldId id="599" r:id="rId25"/>
  </p:sldIdLst>
  <p:sldSz cx="9144000" cy="5143500" type="screen16x9"/>
  <p:notesSz cx="6797675" cy="9856788"/>
  <p:custDataLst>
    <p:tags r:id="rId28"/>
  </p:custDataLst>
  <p:defaultTextStyle>
    <a:defPPr>
      <a:defRPr lang="de-DE"/>
    </a:defPPr>
    <a:lvl1pPr marL="0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6F44AAC-2F2B-40A0-B3C4-1FE0F8D2E701}">
          <p14:sldIdLst>
            <p14:sldId id="371"/>
            <p14:sldId id="970"/>
            <p14:sldId id="593"/>
            <p14:sldId id="592"/>
            <p14:sldId id="578"/>
            <p14:sldId id="395"/>
            <p14:sldId id="594"/>
            <p14:sldId id="968"/>
            <p14:sldId id="597"/>
            <p14:sldId id="972"/>
            <p14:sldId id="973"/>
            <p14:sldId id="598"/>
            <p14:sldId id="596"/>
            <p14:sldId id="600"/>
            <p14:sldId id="965"/>
            <p14:sldId id="966"/>
            <p14:sldId id="967"/>
            <p14:sldId id="654"/>
            <p14:sldId id="969"/>
            <p14:sldId id="964"/>
            <p14:sldId id="59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849" userDrawn="1">
          <p15:clr>
            <a:srgbClr val="A4A3A4"/>
          </p15:clr>
        </p15:guide>
        <p15:guide id="4" orient="horz" pos="2663" userDrawn="1">
          <p15:clr>
            <a:srgbClr val="A4A3A4"/>
          </p15:clr>
        </p15:guide>
        <p15:guide id="5" pos="2971">
          <p15:clr>
            <a:srgbClr val="A4A3A4"/>
          </p15:clr>
        </p15:guide>
        <p15:guide id="6" pos="5511">
          <p15:clr>
            <a:srgbClr val="A4A3A4"/>
          </p15:clr>
        </p15:guide>
        <p15:guide id="7" pos="249">
          <p15:clr>
            <a:srgbClr val="A4A3A4"/>
          </p15:clr>
        </p15:guide>
        <p15:guide id="8" pos="2789" userDrawn="1">
          <p15:clr>
            <a:srgbClr val="A4A3A4"/>
          </p15:clr>
        </p15:guide>
        <p15:guide id="9" pos="5397" userDrawn="1">
          <p15:clr>
            <a:srgbClr val="A4A3A4"/>
          </p15:clr>
        </p15:guide>
        <p15:guide id="10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5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D8F1"/>
    <a:srgbClr val="0079D6"/>
    <a:srgbClr val="FFDD00"/>
    <a:srgbClr val="FBF49C"/>
    <a:srgbClr val="FDF9CC"/>
    <a:srgbClr val="000000"/>
    <a:srgbClr val="222A35"/>
    <a:srgbClr val="E8F3F7"/>
    <a:srgbClr val="2369BC"/>
    <a:srgbClr val="FDF8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BD7C6F-09A6-420D-843B-EE128337AEDA}" v="6245" dt="2018-10-09T15:06:09.781"/>
    <p1510:client id="{CC114E4D-D11B-4603-BA46-01CAB1DA7978}" v="239" dt="2018-10-09T15:20:23.4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3" d="100"/>
          <a:sy n="143" d="100"/>
        </p:scale>
        <p:origin x="1056" y="114"/>
      </p:cViewPr>
      <p:guideLst>
        <p:guide orient="horz" pos="849"/>
        <p:guide orient="horz" pos="2663"/>
        <p:guide pos="2971"/>
        <p:guide pos="5511"/>
        <p:guide pos="249"/>
        <p:guide pos="2789"/>
        <p:guide pos="539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5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BER Thomas" userId="96015faa-664e-4cc8-9b59-58f0d166d35c" providerId="ADAL" clId="{CC114E4D-D11B-4603-BA46-01CAB1DA7978}"/>
    <pc:docChg chg="undo redo custSel addSld delSld modSld sldOrd modSection">
      <pc:chgData name="LABER Thomas" userId="96015faa-664e-4cc8-9b59-58f0d166d35c" providerId="ADAL" clId="{CC114E4D-D11B-4603-BA46-01CAB1DA7978}" dt="2018-10-09T15:20:23.471" v="718" actId="2696"/>
      <pc:docMkLst>
        <pc:docMk/>
      </pc:docMkLst>
      <pc:sldChg chg="modSp">
        <pc:chgData name="LABER Thomas" userId="96015faa-664e-4cc8-9b59-58f0d166d35c" providerId="ADAL" clId="{CC114E4D-D11B-4603-BA46-01CAB1DA7978}" dt="2018-10-08T18:03:16.474" v="38" actId="20577"/>
        <pc:sldMkLst>
          <pc:docMk/>
          <pc:sldMk cId="660280520" sldId="436"/>
        </pc:sldMkLst>
        <pc:spChg chg="mod">
          <ac:chgData name="LABER Thomas" userId="96015faa-664e-4cc8-9b59-58f0d166d35c" providerId="ADAL" clId="{CC114E4D-D11B-4603-BA46-01CAB1DA7978}" dt="2018-10-08T17:54:02.087" v="27" actId="408"/>
          <ac:spMkLst>
            <pc:docMk/>
            <pc:sldMk cId="660280520" sldId="436"/>
            <ac:spMk id="11" creationId="{F0F53795-8436-4E51-B822-D82DFED5D179}"/>
          </ac:spMkLst>
        </pc:spChg>
        <pc:spChg chg="mod">
          <ac:chgData name="LABER Thomas" userId="96015faa-664e-4cc8-9b59-58f0d166d35c" providerId="ADAL" clId="{CC114E4D-D11B-4603-BA46-01CAB1DA7978}" dt="2018-10-08T17:54:02.087" v="27" actId="408"/>
          <ac:spMkLst>
            <pc:docMk/>
            <pc:sldMk cId="660280520" sldId="436"/>
            <ac:spMk id="12" creationId="{53720DA6-7426-4B7C-A8CC-744E1C954841}"/>
          </ac:spMkLst>
        </pc:spChg>
        <pc:spChg chg="mod">
          <ac:chgData name="LABER Thomas" userId="96015faa-664e-4cc8-9b59-58f0d166d35c" providerId="ADAL" clId="{CC114E4D-D11B-4603-BA46-01CAB1DA7978}" dt="2018-10-08T17:54:02.087" v="27" actId="408"/>
          <ac:spMkLst>
            <pc:docMk/>
            <pc:sldMk cId="660280520" sldId="436"/>
            <ac:spMk id="13" creationId="{AF883563-83DD-4C41-8C7D-6E67FDA079AF}"/>
          </ac:spMkLst>
        </pc:spChg>
        <pc:spChg chg="mod">
          <ac:chgData name="LABER Thomas" userId="96015faa-664e-4cc8-9b59-58f0d166d35c" providerId="ADAL" clId="{CC114E4D-D11B-4603-BA46-01CAB1DA7978}" dt="2018-10-08T18:02:05.101" v="32" actId="1076"/>
          <ac:spMkLst>
            <pc:docMk/>
            <pc:sldMk cId="660280520" sldId="436"/>
            <ac:spMk id="14" creationId="{0AE1A312-3717-4DA0-BC71-4894852EDF06}"/>
          </ac:spMkLst>
        </pc:spChg>
        <pc:spChg chg="mod">
          <ac:chgData name="LABER Thomas" userId="96015faa-664e-4cc8-9b59-58f0d166d35c" providerId="ADAL" clId="{CC114E4D-D11B-4603-BA46-01CAB1DA7978}" dt="2018-10-08T18:03:15.810" v="37" actId="14100"/>
          <ac:spMkLst>
            <pc:docMk/>
            <pc:sldMk cId="660280520" sldId="436"/>
            <ac:spMk id="15" creationId="{A2597B59-C60C-43B1-9736-D5197BB463E1}"/>
          </ac:spMkLst>
        </pc:spChg>
        <pc:spChg chg="mod">
          <ac:chgData name="LABER Thomas" userId="96015faa-664e-4cc8-9b59-58f0d166d35c" providerId="ADAL" clId="{CC114E4D-D11B-4603-BA46-01CAB1DA7978}" dt="2018-10-08T18:03:16.474" v="38" actId="20577"/>
          <ac:spMkLst>
            <pc:docMk/>
            <pc:sldMk cId="660280520" sldId="436"/>
            <ac:spMk id="17" creationId="{23B41AE1-DD64-41F1-AD99-A8AF0C33A4A1}"/>
          </ac:spMkLst>
        </pc:spChg>
        <pc:grpChg chg="mod">
          <ac:chgData name="LABER Thomas" userId="96015faa-664e-4cc8-9b59-58f0d166d35c" providerId="ADAL" clId="{CC114E4D-D11B-4603-BA46-01CAB1DA7978}" dt="2018-10-08T18:03:15.357" v="36" actId="1076"/>
          <ac:grpSpMkLst>
            <pc:docMk/>
            <pc:sldMk cId="660280520" sldId="436"/>
            <ac:grpSpMk id="2" creationId="{6A5F031C-81D7-4D6B-AA36-15755B6842B5}"/>
          </ac:grpSpMkLst>
        </pc:grpChg>
      </pc:sldChg>
      <pc:sldChg chg="addSp modSp modAnim">
        <pc:chgData name="LABER Thomas" userId="96015faa-664e-4cc8-9b59-58f0d166d35c" providerId="ADAL" clId="{CC114E4D-D11B-4603-BA46-01CAB1DA7978}" dt="2018-10-09T15:19:00.229" v="717"/>
        <pc:sldMkLst>
          <pc:docMk/>
          <pc:sldMk cId="2313246824" sldId="578"/>
        </pc:sldMkLst>
        <pc:picChg chg="add mod">
          <ac:chgData name="LABER Thomas" userId="96015faa-664e-4cc8-9b59-58f0d166d35c" providerId="ADAL" clId="{CC114E4D-D11B-4603-BA46-01CAB1DA7978}" dt="2018-10-09T07:27:26.889" v="62" actId="1076"/>
          <ac:picMkLst>
            <pc:docMk/>
            <pc:sldMk cId="2313246824" sldId="578"/>
            <ac:picMk id="4" creationId="{503E8702-9BBC-451B-970C-E8395E03937A}"/>
          </ac:picMkLst>
        </pc:picChg>
      </pc:sldChg>
      <pc:sldChg chg="del ord">
        <pc:chgData name="LABER Thomas" userId="96015faa-664e-4cc8-9b59-58f0d166d35c" providerId="ADAL" clId="{CC114E4D-D11B-4603-BA46-01CAB1DA7978}" dt="2018-10-09T15:20:23.471" v="718" actId="2696"/>
        <pc:sldMkLst>
          <pc:docMk/>
          <pc:sldMk cId="1988039427" sldId="595"/>
        </pc:sldMkLst>
      </pc:sldChg>
      <pc:sldChg chg="modSp add">
        <pc:chgData name="LABER Thomas" userId="96015faa-664e-4cc8-9b59-58f0d166d35c" providerId="ADAL" clId="{CC114E4D-D11B-4603-BA46-01CAB1DA7978}" dt="2018-10-08T18:05:46.749" v="41" actId="207"/>
        <pc:sldMkLst>
          <pc:docMk/>
          <pc:sldMk cId="935702248" sldId="596"/>
        </pc:sldMkLst>
        <pc:spChg chg="mod">
          <ac:chgData name="LABER Thomas" userId="96015faa-664e-4cc8-9b59-58f0d166d35c" providerId="ADAL" clId="{CC114E4D-D11B-4603-BA46-01CAB1DA7978}" dt="2018-10-08T18:05:46.749" v="41" actId="207"/>
          <ac:spMkLst>
            <pc:docMk/>
            <pc:sldMk cId="935702248" sldId="596"/>
            <ac:spMk id="13" creationId="{AF883563-83DD-4C41-8C7D-6E67FDA079AF}"/>
          </ac:spMkLst>
        </pc:spChg>
        <pc:spChg chg="mod">
          <ac:chgData name="LABER Thomas" userId="96015faa-664e-4cc8-9b59-58f0d166d35c" providerId="ADAL" clId="{CC114E4D-D11B-4603-BA46-01CAB1DA7978}" dt="2018-10-08T18:05:46.749" v="41" actId="207"/>
          <ac:spMkLst>
            <pc:docMk/>
            <pc:sldMk cId="935702248" sldId="596"/>
            <ac:spMk id="17" creationId="{23B41AE1-DD64-41F1-AD99-A8AF0C33A4A1}"/>
          </ac:spMkLst>
        </pc:spChg>
        <pc:grpChg chg="mod">
          <ac:chgData name="LABER Thomas" userId="96015faa-664e-4cc8-9b59-58f0d166d35c" providerId="ADAL" clId="{CC114E4D-D11B-4603-BA46-01CAB1DA7978}" dt="2018-10-08T18:05:38.544" v="40" actId="207"/>
          <ac:grpSpMkLst>
            <pc:docMk/>
            <pc:sldMk cId="935702248" sldId="596"/>
            <ac:grpSpMk id="3" creationId="{2AE37307-EFA0-49CD-9F68-71C67974A913}"/>
          </ac:grpSpMkLst>
        </pc:grpChg>
      </pc:sldChg>
      <pc:sldChg chg="modSp">
        <pc:chgData name="LABER Thomas" userId="96015faa-664e-4cc8-9b59-58f0d166d35c" providerId="ADAL" clId="{CC114E4D-D11B-4603-BA46-01CAB1DA7978}" dt="2018-10-09T15:16:50.676" v="713" actId="122"/>
        <pc:sldMkLst>
          <pc:docMk/>
          <pc:sldMk cId="625115505" sldId="597"/>
        </pc:sldMkLst>
        <pc:spChg chg="mod">
          <ac:chgData name="LABER Thomas" userId="96015faa-664e-4cc8-9b59-58f0d166d35c" providerId="ADAL" clId="{CC114E4D-D11B-4603-BA46-01CAB1DA7978}" dt="2018-10-09T15:16:50.676" v="713" actId="122"/>
          <ac:spMkLst>
            <pc:docMk/>
            <pc:sldMk cId="625115505" sldId="597"/>
            <ac:spMk id="14" creationId="{090D10A2-0C6F-40F8-80BF-CF29E96337FE}"/>
          </ac:spMkLst>
        </pc:spChg>
        <pc:spChg chg="mod">
          <ac:chgData name="LABER Thomas" userId="96015faa-664e-4cc8-9b59-58f0d166d35c" providerId="ADAL" clId="{CC114E4D-D11B-4603-BA46-01CAB1DA7978}" dt="2018-10-09T15:16:39.431" v="712" actId="1076"/>
          <ac:spMkLst>
            <pc:docMk/>
            <pc:sldMk cId="625115505" sldId="597"/>
            <ac:spMk id="15" creationId="{ACBD618D-9D4E-4716-9296-F732B9CB81C6}"/>
          </ac:spMkLst>
        </pc:spChg>
        <pc:spChg chg="mod">
          <ac:chgData name="LABER Thomas" userId="96015faa-664e-4cc8-9b59-58f0d166d35c" providerId="ADAL" clId="{CC114E4D-D11B-4603-BA46-01CAB1DA7978}" dt="2018-10-09T15:16:50.676" v="713" actId="122"/>
          <ac:spMkLst>
            <pc:docMk/>
            <pc:sldMk cId="625115505" sldId="597"/>
            <ac:spMk id="20" creationId="{1A53441B-0C76-4BB0-B3F4-905EB6B75DA5}"/>
          </ac:spMkLst>
        </pc:spChg>
        <pc:spChg chg="mod">
          <ac:chgData name="LABER Thomas" userId="96015faa-664e-4cc8-9b59-58f0d166d35c" providerId="ADAL" clId="{CC114E4D-D11B-4603-BA46-01CAB1DA7978}" dt="2018-10-09T15:16:50.676" v="713" actId="122"/>
          <ac:spMkLst>
            <pc:docMk/>
            <pc:sldMk cId="625115505" sldId="597"/>
            <ac:spMk id="21" creationId="{54E0076C-507E-4E8D-BD64-DE9D7CF233BE}"/>
          </ac:spMkLst>
        </pc:spChg>
        <pc:spChg chg="mod">
          <ac:chgData name="LABER Thomas" userId="96015faa-664e-4cc8-9b59-58f0d166d35c" providerId="ADAL" clId="{CC114E4D-D11B-4603-BA46-01CAB1DA7978}" dt="2018-10-09T15:16:50.676" v="713" actId="122"/>
          <ac:spMkLst>
            <pc:docMk/>
            <pc:sldMk cId="625115505" sldId="597"/>
            <ac:spMk id="22" creationId="{4359264B-2730-4E56-851B-98D2F06E1004}"/>
          </ac:spMkLst>
        </pc:spChg>
        <pc:spChg chg="mod">
          <ac:chgData name="LABER Thomas" userId="96015faa-664e-4cc8-9b59-58f0d166d35c" providerId="ADAL" clId="{CC114E4D-D11B-4603-BA46-01CAB1DA7978}" dt="2018-10-09T15:16:39.431" v="712" actId="1076"/>
          <ac:spMkLst>
            <pc:docMk/>
            <pc:sldMk cId="625115505" sldId="597"/>
            <ac:spMk id="24" creationId="{4A3A7CFF-BE40-4A78-9D78-AE2B1993D12A}"/>
          </ac:spMkLst>
        </pc:spChg>
        <pc:spChg chg="mod">
          <ac:chgData name="LABER Thomas" userId="96015faa-664e-4cc8-9b59-58f0d166d35c" providerId="ADAL" clId="{CC114E4D-D11B-4603-BA46-01CAB1DA7978}" dt="2018-10-09T15:16:39.431" v="712" actId="1076"/>
          <ac:spMkLst>
            <pc:docMk/>
            <pc:sldMk cId="625115505" sldId="597"/>
            <ac:spMk id="25" creationId="{13801FE4-F560-47F7-AE08-A83D07035918}"/>
          </ac:spMkLst>
        </pc:spChg>
        <pc:spChg chg="mod">
          <ac:chgData name="LABER Thomas" userId="96015faa-664e-4cc8-9b59-58f0d166d35c" providerId="ADAL" clId="{CC114E4D-D11B-4603-BA46-01CAB1DA7978}" dt="2018-10-09T15:16:39.431" v="712" actId="1076"/>
          <ac:spMkLst>
            <pc:docMk/>
            <pc:sldMk cId="625115505" sldId="597"/>
            <ac:spMk id="26" creationId="{FCEB7A46-9A7C-4846-A91F-8A7584C46F18}"/>
          </ac:spMkLst>
        </pc:spChg>
        <pc:picChg chg="mod">
          <ac:chgData name="LABER Thomas" userId="96015faa-664e-4cc8-9b59-58f0d166d35c" providerId="ADAL" clId="{CC114E4D-D11B-4603-BA46-01CAB1DA7978}" dt="2018-10-09T15:16:39.431" v="712" actId="1076"/>
          <ac:picMkLst>
            <pc:docMk/>
            <pc:sldMk cId="625115505" sldId="597"/>
            <ac:picMk id="5" creationId="{67FE8F46-49EA-4634-A099-ED5E59F2C55D}"/>
          </ac:picMkLst>
        </pc:picChg>
        <pc:picChg chg="mod">
          <ac:chgData name="LABER Thomas" userId="96015faa-664e-4cc8-9b59-58f0d166d35c" providerId="ADAL" clId="{CC114E4D-D11B-4603-BA46-01CAB1DA7978}" dt="2018-10-09T15:16:39.431" v="712" actId="1076"/>
          <ac:picMkLst>
            <pc:docMk/>
            <pc:sldMk cId="625115505" sldId="597"/>
            <ac:picMk id="7" creationId="{7C277AE5-D2B6-484D-92C4-6C732BF76530}"/>
          </ac:picMkLst>
        </pc:picChg>
        <pc:picChg chg="mod">
          <ac:chgData name="LABER Thomas" userId="96015faa-664e-4cc8-9b59-58f0d166d35c" providerId="ADAL" clId="{CC114E4D-D11B-4603-BA46-01CAB1DA7978}" dt="2018-10-09T15:16:39.431" v="712" actId="1076"/>
          <ac:picMkLst>
            <pc:docMk/>
            <pc:sldMk cId="625115505" sldId="597"/>
            <ac:picMk id="11" creationId="{678876D2-EB34-4D85-A58D-538D04517E40}"/>
          </ac:picMkLst>
        </pc:picChg>
        <pc:picChg chg="mod">
          <ac:chgData name="LABER Thomas" userId="96015faa-664e-4cc8-9b59-58f0d166d35c" providerId="ADAL" clId="{CC114E4D-D11B-4603-BA46-01CAB1DA7978}" dt="2018-10-09T15:16:39.431" v="712" actId="1076"/>
          <ac:picMkLst>
            <pc:docMk/>
            <pc:sldMk cId="625115505" sldId="597"/>
            <ac:picMk id="13" creationId="{06E9268F-6DC6-401E-8FE9-70E437C0AEAA}"/>
          </ac:picMkLst>
        </pc:picChg>
      </pc:sldChg>
      <pc:sldChg chg="addSp delSp modSp add del">
        <pc:chgData name="LABER Thomas" userId="96015faa-664e-4cc8-9b59-58f0d166d35c" providerId="ADAL" clId="{CC114E4D-D11B-4603-BA46-01CAB1DA7978}" dt="2018-10-08T18:09:43.686" v="56" actId="2696"/>
        <pc:sldMkLst>
          <pc:docMk/>
          <pc:sldMk cId="1303037483" sldId="597"/>
        </pc:sldMkLst>
        <pc:spChg chg="del">
          <ac:chgData name="LABER Thomas" userId="96015faa-664e-4cc8-9b59-58f0d166d35c" providerId="ADAL" clId="{CC114E4D-D11B-4603-BA46-01CAB1DA7978}" dt="2018-10-08T18:07:54.671" v="43"/>
          <ac:spMkLst>
            <pc:docMk/>
            <pc:sldMk cId="1303037483" sldId="597"/>
            <ac:spMk id="5" creationId="{7B7CCBCD-6AF4-4D3A-9805-2E5E3825E115}"/>
          </ac:spMkLst>
        </pc:spChg>
        <pc:picChg chg="add mod">
          <ac:chgData name="LABER Thomas" userId="96015faa-664e-4cc8-9b59-58f0d166d35c" providerId="ADAL" clId="{CC114E4D-D11B-4603-BA46-01CAB1DA7978}" dt="2018-10-08T18:08:37.500" v="48" actId="1076"/>
          <ac:picMkLst>
            <pc:docMk/>
            <pc:sldMk cId="1303037483" sldId="597"/>
            <ac:picMk id="8" creationId="{37971E43-44D2-4C72-8DEF-F5C3A299F69C}"/>
          </ac:picMkLst>
        </pc:picChg>
      </pc:sldChg>
      <pc:sldChg chg="addSp delSp modSp add del">
        <pc:chgData name="LABER Thomas" userId="96015faa-664e-4cc8-9b59-58f0d166d35c" providerId="ADAL" clId="{CC114E4D-D11B-4603-BA46-01CAB1DA7978}" dt="2018-10-08T18:09:43.672" v="55" actId="2696"/>
        <pc:sldMkLst>
          <pc:docMk/>
          <pc:sldMk cId="1812427833" sldId="598"/>
        </pc:sldMkLst>
        <pc:spChg chg="del">
          <ac:chgData name="LABER Thomas" userId="96015faa-664e-4cc8-9b59-58f0d166d35c" providerId="ADAL" clId="{CC114E4D-D11B-4603-BA46-01CAB1DA7978}" dt="2018-10-08T18:09:10.337" v="50"/>
          <ac:spMkLst>
            <pc:docMk/>
            <pc:sldMk cId="1812427833" sldId="598"/>
            <ac:spMk id="5" creationId="{9C70136C-EB96-443B-92FA-1AACC257465A}"/>
          </ac:spMkLst>
        </pc:spChg>
        <pc:picChg chg="add mod">
          <ac:chgData name="LABER Thomas" userId="96015faa-664e-4cc8-9b59-58f0d166d35c" providerId="ADAL" clId="{CC114E4D-D11B-4603-BA46-01CAB1DA7978}" dt="2018-10-08T18:09:32.266" v="54" actId="1076"/>
          <ac:picMkLst>
            <pc:docMk/>
            <pc:sldMk cId="1812427833" sldId="598"/>
            <ac:picMk id="8" creationId="{8E9F3904-C929-4AC6-B55F-096A4E40207C}"/>
          </ac:picMkLst>
        </pc:picChg>
      </pc:sldChg>
      <pc:sldChg chg="add">
        <pc:chgData name="LABER Thomas" userId="96015faa-664e-4cc8-9b59-58f0d166d35c" providerId="ADAL" clId="{CC114E4D-D11B-4603-BA46-01CAB1DA7978}" dt="2018-10-09T15:12:26.864" v="687"/>
        <pc:sldMkLst>
          <pc:docMk/>
          <pc:sldMk cId="678483548" sldId="599"/>
        </pc:sldMkLst>
      </pc:sldChg>
      <pc:sldChg chg="addSp delSp modSp del modTransition">
        <pc:chgData name="LABER Thomas" userId="96015faa-664e-4cc8-9b59-58f0d166d35c" providerId="ADAL" clId="{CC114E4D-D11B-4603-BA46-01CAB1DA7978}" dt="2018-10-09T15:12:24.045" v="686" actId="2696"/>
        <pc:sldMkLst>
          <pc:docMk/>
          <pc:sldMk cId="2059930779" sldId="599"/>
        </pc:sldMkLst>
        <pc:spChg chg="mod">
          <ac:chgData name="LABER Thomas" userId="96015faa-664e-4cc8-9b59-58f0d166d35c" providerId="ADAL" clId="{CC114E4D-D11B-4603-BA46-01CAB1DA7978}" dt="2018-10-09T14:34:18.606" v="299" actId="1076"/>
          <ac:spMkLst>
            <pc:docMk/>
            <pc:sldMk cId="2059930779" sldId="599"/>
            <ac:spMk id="33" creationId="{1E24F140-F661-4236-814B-D6D52996AA3F}"/>
          </ac:spMkLst>
        </pc:spChg>
        <pc:picChg chg="add">
          <ac:chgData name="LABER Thomas" userId="96015faa-664e-4cc8-9b59-58f0d166d35c" providerId="ADAL" clId="{CC114E4D-D11B-4603-BA46-01CAB1DA7978}" dt="2018-10-09T15:12:14.434" v="683"/>
          <ac:picMkLst>
            <pc:docMk/>
            <pc:sldMk cId="2059930779" sldId="599"/>
            <ac:picMk id="60" creationId="{F250BC8D-0E15-40F5-A1F7-8BC9D67BAE15}"/>
          </ac:picMkLst>
        </pc:picChg>
        <pc:picChg chg="del mod">
          <ac:chgData name="LABER Thomas" userId="96015faa-664e-4cc8-9b59-58f0d166d35c" providerId="ADAL" clId="{CC114E4D-D11B-4603-BA46-01CAB1DA7978}" dt="2018-10-09T13:47:36.192" v="72" actId="478"/>
          <ac:picMkLst>
            <pc:docMk/>
            <pc:sldMk cId="2059930779" sldId="599"/>
            <ac:picMk id="73" creationId="{D581B0AD-B7C5-4DC6-9A1C-785824C663B7}"/>
          </ac:picMkLst>
        </pc:picChg>
        <pc:picChg chg="mod">
          <ac:chgData name="LABER Thomas" userId="96015faa-664e-4cc8-9b59-58f0d166d35c" providerId="ADAL" clId="{CC114E4D-D11B-4603-BA46-01CAB1DA7978}" dt="2018-10-09T14:38:41.835" v="383" actId="1076"/>
          <ac:picMkLst>
            <pc:docMk/>
            <pc:sldMk cId="2059930779" sldId="599"/>
            <ac:picMk id="83" creationId="{42D6EDEF-9C0C-499D-BADC-CC5B6C74CC5F}"/>
          </ac:picMkLst>
        </pc:picChg>
      </pc:sldChg>
      <pc:sldChg chg="modNotesTx">
        <pc:chgData name="LABER Thomas" userId="96015faa-664e-4cc8-9b59-58f0d166d35c" providerId="ADAL" clId="{CC114E4D-D11B-4603-BA46-01CAB1DA7978}" dt="2018-10-09T13:44:20.636" v="71" actId="20577"/>
        <pc:sldMkLst>
          <pc:docMk/>
          <pc:sldMk cId="1937421615" sldId="654"/>
        </pc:sldMkLst>
      </pc:sldChg>
      <pc:sldChg chg="delSp modSp add del modTransition">
        <pc:chgData name="LABER Thomas" userId="96015faa-664e-4cc8-9b59-58f0d166d35c" providerId="ADAL" clId="{CC114E4D-D11B-4603-BA46-01CAB1DA7978}" dt="2018-10-09T15:12:21.980" v="685" actId="2696"/>
        <pc:sldMkLst>
          <pc:docMk/>
          <pc:sldMk cId="4254200121" sldId="971"/>
        </pc:sldMkLst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6" creationId="{D7419C39-5920-4026-8093-01558B7D0914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1" creationId="{089DBF29-9D08-4381-BA46-B858E0E73D90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2" creationId="{34C26FA9-A529-40E6-B732-348EB30620A9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3" creationId="{1B95AE52-0ABD-4F6F-A8DF-382AC2E3F89D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4" creationId="{753F208E-E95B-4380-9839-38B1E6E92FA2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5" creationId="{41984167-0B9A-44D5-89A8-973A10DB8289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26" creationId="{CFC0ED2C-5203-4C2B-ACE0-1BB37508DEF3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33" creationId="{1E24F140-F661-4236-814B-D6D52996AA3F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34" creationId="{06D110A3-1ED2-4096-8272-584A3FD85A89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37" creationId="{43A1BFFC-56D4-494A-918B-FA87090A8391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38" creationId="{C7F0933F-AE74-4A0A-9A45-D610654C3032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39" creationId="{27B87072-EE1C-49AE-BC66-0E15BEBAB68E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46" creationId="{5A91283C-C4FE-4D86-99A0-4C58220C240E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49" creationId="{78288D24-AAB3-46E9-A288-A74BCF08BCD9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4" creationId="{5F91BCE4-33E7-419D-8270-9C7CEC709C77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5" creationId="{D2D63037-EBC3-47DF-B2AB-BC192DB4641A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6" creationId="{06092162-8B79-47F7-AB0B-DFA69E286E2D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7" creationId="{60736295-853B-4C18-B4B8-561992A17BC3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8" creationId="{7B49D8B3-8874-463F-912E-16246AB773F0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59" creationId="{A094EBF5-0008-4AAA-98A2-53979138DC79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72" creationId="{C2E3AD95-8940-403C-B5B7-B6707413AD31}"/>
          </ac:spMkLst>
        </pc:spChg>
        <pc:spChg chg="del">
          <ac:chgData name="LABER Thomas" userId="96015faa-664e-4cc8-9b59-58f0d166d35c" providerId="ADAL" clId="{CC114E4D-D11B-4603-BA46-01CAB1DA7978}" dt="2018-10-09T13:13:00.873" v="69" actId="478"/>
          <ac:spMkLst>
            <pc:docMk/>
            <pc:sldMk cId="4254200121" sldId="971"/>
            <ac:spMk id="74" creationId="{D7DA8B1F-D84E-4ED2-A6B3-7BF2CE876DBB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75" creationId="{656EB8A5-D800-4AB5-916D-240BAEE5E38C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78" creationId="{3F9ECC55-BA69-4CC1-86FC-AD2363C89A9E}"/>
          </ac:spMkLst>
        </pc:spChg>
        <pc:spChg chg="del">
          <ac:chgData name="LABER Thomas" userId="96015faa-664e-4cc8-9b59-58f0d166d35c" providerId="ADAL" clId="{CC114E4D-D11B-4603-BA46-01CAB1DA7978}" dt="2018-10-09T13:12:50.696" v="66" actId="478"/>
          <ac:spMkLst>
            <pc:docMk/>
            <pc:sldMk cId="4254200121" sldId="971"/>
            <ac:spMk id="81" creationId="{FCBE27E9-E5C6-4620-9E86-5C2E422F2264}"/>
          </ac:spMkLst>
        </pc:sp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5" creationId="{FA3CC14A-9CB2-4370-ADF4-9F7294BEBB29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9" creationId="{1F7F6975-5005-47FC-8971-A34B8655038B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10" creationId="{2DE20832-50C2-4D26-BCC6-5F4F05106E23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11" creationId="{7A46B7BE-A057-40FA-8E45-5A73C450C991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12" creationId="{9D3CB1C5-01BB-45BB-9260-5B13591198F3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13" creationId="{F61811E5-7345-4E83-A6C8-2D1A38CDDBAF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20" creationId="{B1604469-419C-4A36-8C90-879E87F97171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29" creationId="{53750E05-BFE0-4C36-9B84-8EAB0F10A021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31" creationId="{537859EE-3215-4B2C-A353-96A7F105AE6D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32" creationId="{40DE0081-B53F-4BD7-AE85-7884F8689C4E}"/>
          </ac:picMkLst>
        </pc:picChg>
        <pc:picChg chg="del mod">
          <ac:chgData name="LABER Thomas" userId="96015faa-664e-4cc8-9b59-58f0d166d35c" providerId="ADAL" clId="{CC114E4D-D11B-4603-BA46-01CAB1DA7978}" dt="2018-10-09T15:12:12.808" v="682"/>
          <ac:picMkLst>
            <pc:docMk/>
            <pc:sldMk cId="4254200121" sldId="971"/>
            <ac:picMk id="73" creationId="{D581B0AD-B7C5-4DC6-9A1C-785824C663B7}"/>
          </ac:picMkLst>
        </pc:picChg>
        <pc:picChg chg="del">
          <ac:chgData name="LABER Thomas" userId="96015faa-664e-4cc8-9b59-58f0d166d35c" providerId="ADAL" clId="{CC114E4D-D11B-4603-BA46-01CAB1DA7978}" dt="2018-10-09T13:12:50.696" v="66" actId="478"/>
          <ac:picMkLst>
            <pc:docMk/>
            <pc:sldMk cId="4254200121" sldId="971"/>
            <ac:picMk id="77" creationId="{FC35A42D-A192-4240-827E-051CE4AFAD58}"/>
          </ac:picMkLst>
        </pc:picChg>
        <pc:picChg chg="del">
          <ac:chgData name="LABER Thomas" userId="96015faa-664e-4cc8-9b59-58f0d166d35c" providerId="ADAL" clId="{CC114E4D-D11B-4603-BA46-01CAB1DA7978}" dt="2018-10-09T13:12:56.868" v="68" actId="478"/>
          <ac:picMkLst>
            <pc:docMk/>
            <pc:sldMk cId="4254200121" sldId="971"/>
            <ac:picMk id="83" creationId="{42D6EDEF-9C0C-499D-BADC-CC5B6C74CC5F}"/>
          </ac:picMkLst>
        </pc:picChg>
        <pc:cxnChg chg="del mod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41" creationId="{31E00824-7531-4894-98B7-1998FEEAE15E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44" creationId="{88039FE1-D330-40FC-977D-5515BF2AF892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50" creationId="{074ED7EC-8CD7-499C-93DC-A17AE9F590F1}"/>
          </ac:cxnSpMkLst>
        </pc:cxnChg>
        <pc:cxnChg chg="del mod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53" creationId="{503985EC-8144-4402-AF4D-5DEFAB59030B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66" creationId="{16FD2250-54BD-4F93-9408-B28449067233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68" creationId="{11F92D7F-C022-4A87-982F-D91DDC5371D1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69" creationId="{AB8D3516-E0FA-484A-8791-CDC950D99725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76" creationId="{27F08053-9D2A-477E-BD91-3F723F4D0057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79" creationId="{EE97F52A-4145-4947-A0C6-BA0D47182048}"/>
          </ac:cxnSpMkLst>
        </pc:cxnChg>
        <pc:cxnChg chg="del">
          <ac:chgData name="LABER Thomas" userId="96015faa-664e-4cc8-9b59-58f0d166d35c" providerId="ADAL" clId="{CC114E4D-D11B-4603-BA46-01CAB1DA7978}" dt="2018-10-09T13:12:50.696" v="66" actId="478"/>
          <ac:cxnSpMkLst>
            <pc:docMk/>
            <pc:sldMk cId="4254200121" sldId="971"/>
            <ac:cxnSpMk id="80" creationId="{79F239CA-442E-434D-88AE-CD8B483ADE4E}"/>
          </ac:cxnSpMkLst>
        </pc:cxnChg>
      </pc:sldChg>
      <pc:sldChg chg="addSp delSp modSp add">
        <pc:chgData name="LABER Thomas" userId="96015faa-664e-4cc8-9b59-58f0d166d35c" providerId="ADAL" clId="{CC114E4D-D11B-4603-BA46-01CAB1DA7978}" dt="2018-10-09T15:11:59.888" v="680" actId="12789"/>
        <pc:sldMkLst>
          <pc:docMk/>
          <pc:sldMk cId="1665240149" sldId="972"/>
        </pc:sldMkLst>
        <pc:spChg chg="add mod ord">
          <ac:chgData name="LABER Thomas" userId="96015faa-664e-4cc8-9b59-58f0d166d35c" providerId="ADAL" clId="{CC114E4D-D11B-4603-BA46-01CAB1DA7978}" dt="2018-10-09T14:00:26.530" v="98" actId="164"/>
          <ac:spMkLst>
            <pc:docMk/>
            <pc:sldMk cId="1665240149" sldId="972"/>
            <ac:spMk id="2" creationId="{5DFC1BA8-8A60-4497-867B-5B4AB95C3BF8}"/>
          </ac:spMkLst>
        </pc:spChg>
        <pc:spChg chg="add del">
          <ac:chgData name="LABER Thomas" userId="96015faa-664e-4cc8-9b59-58f0d166d35c" providerId="ADAL" clId="{CC114E4D-D11B-4603-BA46-01CAB1DA7978}" dt="2018-10-09T14:37:18.826" v="371" actId="478"/>
          <ac:spMkLst>
            <pc:docMk/>
            <pc:sldMk cId="1665240149" sldId="972"/>
            <ac:spMk id="7" creationId="{E03E7268-E668-42D2-BDBD-AE8E38C4692E}"/>
          </ac:spMkLst>
        </pc:spChg>
        <pc:spChg chg="add mod or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4" creationId="{8FF0997E-B03E-4DDF-81D0-AB09E02C26E7}"/>
          </ac:spMkLst>
        </pc:spChg>
        <pc:spChg chg="add del">
          <ac:chgData name="LABER Thomas" userId="96015faa-664e-4cc8-9b59-58f0d166d35c" providerId="ADAL" clId="{CC114E4D-D11B-4603-BA46-01CAB1DA7978}" dt="2018-10-09T14:17:53.724" v="154" actId="478"/>
          <ac:spMkLst>
            <pc:docMk/>
            <pc:sldMk cId="1665240149" sldId="972"/>
            <ac:spMk id="15" creationId="{66172744-2758-4B93-B09E-F5BD81B3CEC5}"/>
          </ac:spMkLst>
        </pc:spChg>
        <pc:spChg chg="add del mod">
          <ac:chgData name="LABER Thomas" userId="96015faa-664e-4cc8-9b59-58f0d166d35c" providerId="ADAL" clId="{CC114E4D-D11B-4603-BA46-01CAB1DA7978}" dt="2018-10-09T14:17:52.175" v="153" actId="478"/>
          <ac:spMkLst>
            <pc:docMk/>
            <pc:sldMk cId="1665240149" sldId="972"/>
            <ac:spMk id="16" creationId="{6EFDB57F-F62C-4F55-9F13-A06DEB8074AE}"/>
          </ac:spMkLst>
        </pc:spChg>
        <pc:spChg chg="add del mod">
          <ac:chgData name="LABER Thomas" userId="96015faa-664e-4cc8-9b59-58f0d166d35c" providerId="ADAL" clId="{CC114E4D-D11B-4603-BA46-01CAB1DA7978}" dt="2018-10-09T14:35:07.857" v="310" actId="478"/>
          <ac:spMkLst>
            <pc:docMk/>
            <pc:sldMk cId="1665240149" sldId="972"/>
            <ac:spMk id="17" creationId="{656C28D0-6849-4BF1-9411-B65B4EAD79DE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18" creationId="{0931752F-CDB0-4672-A079-345F2C0354D4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20" creationId="{2954EFCC-67AD-4443-B45F-9B3826E452F3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21" creationId="{BAB9047A-BE4C-4853-A2EB-AAB89B90ABE0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26" creationId="{BE87B50D-8888-4397-A507-796A9328CCA7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27" creationId="{498653CE-C3EF-4DC9-8196-38FC479BE45C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28" creationId="{E5C30AEA-15F8-448A-83F2-E437FBE82B22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29" creationId="{30A78A7C-68CA-45A6-8A00-C4EAE17B52F4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31" creationId="{398F3BB4-E918-4211-9DB9-E044D0218374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34" creationId="{605C03A1-F4F4-4EDB-9EF9-622FA9503959}"/>
          </ac:spMkLst>
        </pc:spChg>
        <pc:spChg chg="add del mod">
          <ac:chgData name="LABER Thomas" userId="96015faa-664e-4cc8-9b59-58f0d166d35c" providerId="ADAL" clId="{CC114E4D-D11B-4603-BA46-01CAB1DA7978}" dt="2018-10-09T14:26:10.728" v="177" actId="478"/>
          <ac:spMkLst>
            <pc:docMk/>
            <pc:sldMk cId="1665240149" sldId="972"/>
            <ac:spMk id="35" creationId="{E444D176-9BB5-4BFE-861C-D2FCA3B5D316}"/>
          </ac:spMkLst>
        </pc:spChg>
        <pc:spChg chg="add del">
          <ac:chgData name="LABER Thomas" userId="96015faa-664e-4cc8-9b59-58f0d166d35c" providerId="ADAL" clId="{CC114E4D-D11B-4603-BA46-01CAB1DA7978}" dt="2018-10-09T14:36:28.013" v="342" actId="478"/>
          <ac:spMkLst>
            <pc:docMk/>
            <pc:sldMk cId="1665240149" sldId="972"/>
            <ac:spMk id="38" creationId="{460B1D5A-E967-40D3-A2AF-2F01AD04C137}"/>
          </ac:spMkLst>
        </pc:spChg>
        <pc:spChg chg="add del">
          <ac:chgData name="LABER Thomas" userId="96015faa-664e-4cc8-9b59-58f0d166d35c" providerId="ADAL" clId="{CC114E4D-D11B-4603-BA46-01CAB1DA7978}" dt="2018-10-09T14:36:30.353" v="344" actId="478"/>
          <ac:spMkLst>
            <pc:docMk/>
            <pc:sldMk cId="1665240149" sldId="972"/>
            <ac:spMk id="39" creationId="{8F723B19-7AA7-40BF-B934-4A2549B93551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40" creationId="{C1332E95-51EA-4684-B727-55D28E793E17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41" creationId="{2857EE10-7BB2-4C8F-922F-4C441594EBBB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42" creationId="{2E0E5A57-506E-4EB6-8156-1D3EB4297C9A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43" creationId="{81BC5F39-213F-40EB-A98B-81963CFB214E}"/>
          </ac:spMkLst>
        </pc:spChg>
        <pc:spChg chg="add del">
          <ac:chgData name="LABER Thomas" userId="96015faa-664e-4cc8-9b59-58f0d166d35c" providerId="ADAL" clId="{CC114E4D-D11B-4603-BA46-01CAB1DA7978}" dt="2018-10-09T14:37:20.236" v="372" actId="478"/>
          <ac:spMkLst>
            <pc:docMk/>
            <pc:sldMk cId="1665240149" sldId="972"/>
            <ac:spMk id="47" creationId="{4F3D1E15-4D7B-4AFF-8DE6-7BA170086B7C}"/>
          </ac:spMkLst>
        </pc:spChg>
        <pc:spChg chg="add del">
          <ac:chgData name="LABER Thomas" userId="96015faa-664e-4cc8-9b59-58f0d166d35c" providerId="ADAL" clId="{CC114E4D-D11B-4603-BA46-01CAB1DA7978}" dt="2018-10-09T14:37:20.236" v="372" actId="478"/>
          <ac:spMkLst>
            <pc:docMk/>
            <pc:sldMk cId="1665240149" sldId="972"/>
            <ac:spMk id="48" creationId="{00703A7A-F57D-406C-8E1D-2848978368E8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49" creationId="{A5A44AB6-E017-413B-AF87-6652F3112127}"/>
          </ac:spMkLst>
        </pc:spChg>
        <pc:spChg chg="add del">
          <ac:chgData name="LABER Thomas" userId="96015faa-664e-4cc8-9b59-58f0d166d35c" providerId="ADAL" clId="{CC114E4D-D11B-4603-BA46-01CAB1DA7978}" dt="2018-10-09T14:37:17.686" v="370" actId="478"/>
          <ac:spMkLst>
            <pc:docMk/>
            <pc:sldMk cId="1665240149" sldId="972"/>
            <ac:spMk id="52" creationId="{8E0819E2-B1C2-4F08-90B9-2D8B63DE53A4}"/>
          </ac:spMkLst>
        </pc:spChg>
        <pc:spChg chg="add del">
          <ac:chgData name="LABER Thomas" userId="96015faa-664e-4cc8-9b59-58f0d166d35c" providerId="ADAL" clId="{CC114E4D-D11B-4603-BA46-01CAB1DA7978}" dt="2018-10-09T14:26:14.314" v="178" actId="478"/>
          <ac:spMkLst>
            <pc:docMk/>
            <pc:sldMk cId="1665240149" sldId="972"/>
            <ac:spMk id="55" creationId="{0FBC4867-0F94-4966-8A10-A931B8EFC4D4}"/>
          </ac:spMkLst>
        </pc:spChg>
        <pc:spChg chg="mod topLvl">
          <ac:chgData name="LABER Thomas" userId="96015faa-664e-4cc8-9b59-58f0d166d35c" providerId="ADAL" clId="{CC114E4D-D11B-4603-BA46-01CAB1DA7978}" dt="2018-10-09T14:38:24.731" v="382" actId="207"/>
          <ac:spMkLst>
            <pc:docMk/>
            <pc:sldMk cId="1665240149" sldId="972"/>
            <ac:spMk id="59" creationId="{ED6B3B48-B499-44FA-857B-C72AA26CD15C}"/>
          </ac:spMkLst>
        </pc:spChg>
        <pc:spChg chg="mod topLvl">
          <ac:chgData name="LABER Thomas" userId="96015faa-664e-4cc8-9b59-58f0d166d35c" providerId="ADAL" clId="{CC114E4D-D11B-4603-BA46-01CAB1DA7978}" dt="2018-10-09T14:07:16.057" v="133" actId="12789"/>
          <ac:spMkLst>
            <pc:docMk/>
            <pc:sldMk cId="1665240149" sldId="972"/>
            <ac:spMk id="63" creationId="{772EDE7A-A2D2-4A4C-B6DB-DF292142137D}"/>
          </ac:spMkLst>
        </pc:spChg>
        <pc:spChg chg="add mod ord">
          <ac:chgData name="LABER Thomas" userId="96015faa-664e-4cc8-9b59-58f0d166d35c" providerId="ADAL" clId="{CC114E4D-D11B-4603-BA46-01CAB1DA7978}" dt="2018-10-09T14:17:16.286" v="144" actId="164"/>
          <ac:spMkLst>
            <pc:docMk/>
            <pc:sldMk cId="1665240149" sldId="972"/>
            <ac:spMk id="66" creationId="{5F2B9125-0B57-48D5-82F7-2A43CA15FA38}"/>
          </ac:spMkLst>
        </pc:spChg>
        <pc:spChg chg="del">
          <ac:chgData name="LABER Thomas" userId="96015faa-664e-4cc8-9b59-58f0d166d35c" providerId="ADAL" clId="{CC114E4D-D11B-4603-BA46-01CAB1DA7978}" dt="2018-10-09T14:37:20.236" v="372" actId="478"/>
          <ac:spMkLst>
            <pc:docMk/>
            <pc:sldMk cId="1665240149" sldId="972"/>
            <ac:spMk id="70" creationId="{AED53C3D-4EC7-4F36-A58A-65FF044ADAAE}"/>
          </ac:spMkLst>
        </pc:spChg>
        <pc:spChg chg="del">
          <ac:chgData name="LABER Thomas" userId="96015faa-664e-4cc8-9b59-58f0d166d35c" providerId="ADAL" clId="{CC114E4D-D11B-4603-BA46-01CAB1DA7978}" dt="2018-10-09T14:37:20.236" v="372" actId="478"/>
          <ac:spMkLst>
            <pc:docMk/>
            <pc:sldMk cId="1665240149" sldId="972"/>
            <ac:spMk id="71" creationId="{40416CD0-702B-4D02-8DBE-FA36D1B60517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75" creationId="{9F0008C7-06F7-4DB8-B246-D908AC74E0D2}"/>
          </ac:spMkLst>
        </pc:spChg>
        <pc:spChg chg="add mod or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76" creationId="{1C98CD65-9F55-452D-A73C-8C15F90CC6F3}"/>
          </ac:spMkLst>
        </pc:spChg>
        <pc:spChg chg="mod topLvl">
          <ac:chgData name="LABER Thomas" userId="96015faa-664e-4cc8-9b59-58f0d166d35c" providerId="ADAL" clId="{CC114E4D-D11B-4603-BA46-01CAB1DA7978}" dt="2018-10-09T14:30:06.073" v="232" actId="207"/>
          <ac:spMkLst>
            <pc:docMk/>
            <pc:sldMk cId="1665240149" sldId="972"/>
            <ac:spMk id="78" creationId="{1ACEE73E-37E0-4EC3-A1FB-0188304A1529}"/>
          </ac:spMkLst>
        </pc:spChg>
        <pc:spChg chg="mod ord topLvl">
          <ac:chgData name="LABER Thomas" userId="96015faa-664e-4cc8-9b59-58f0d166d35c" providerId="ADAL" clId="{CC114E4D-D11B-4603-BA46-01CAB1DA7978}" dt="2018-10-09T14:30:02.907" v="231" actId="207"/>
          <ac:spMkLst>
            <pc:docMk/>
            <pc:sldMk cId="1665240149" sldId="972"/>
            <ac:spMk id="86" creationId="{D5DC741A-8430-4F69-B170-430145073C54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91" creationId="{F113E1C4-22FC-47BE-B61E-295051C1E673}"/>
          </ac:spMkLst>
        </pc:spChg>
        <pc:spChg chg="mod topLvl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93" creationId="{3314ECF0-5A8A-4A3C-9120-618DBE929CE0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95" creationId="{60F05E7C-3DE2-4FFB-833A-B2D7B536136A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96" creationId="{5DD097FA-D260-41F3-9B06-2A630841690F}"/>
          </ac:spMkLst>
        </pc:spChg>
        <pc:spChg chg="mod topLvl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98" creationId="{8D018DCE-8D73-44F5-8C44-9A65CC5F9A7E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00" creationId="{4E736949-5668-4F66-B626-D059863DEE53}"/>
          </ac:spMkLst>
        </pc:spChg>
        <pc:spChg chg="mod topLvl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02" creationId="{57C3EF37-79EE-4DD5-8D83-6CFE9B69CB69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04" creationId="{33950181-A585-4F7E-B178-F9E474A91814}"/>
          </ac:spMkLst>
        </pc:spChg>
        <pc:spChg chg="add mod or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08" creationId="{C7BC0A11-00DE-4383-A27E-CB15BF817263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09" creationId="{7EABC5C2-1D66-4D9C-AC3C-EE62EE5F687E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12" creationId="{4B122DA1-B85B-4C5E-BD37-A304A257B4E6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13" creationId="{FA300FFE-DCE9-4B2F-9318-DDDED321509E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14" creationId="{A05FCAA5-7967-49FD-BB91-7DCF0172F148}"/>
          </ac:spMkLst>
        </pc:spChg>
        <pc:spChg chg="mod topLvl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16" creationId="{39435B7A-586E-43EF-8007-DC37331CDDEF}"/>
          </ac:spMkLst>
        </pc:spChg>
        <pc:spChg chg="add mod">
          <ac:chgData name="LABER Thomas" userId="96015faa-664e-4cc8-9b59-58f0d166d35c" providerId="ADAL" clId="{CC114E4D-D11B-4603-BA46-01CAB1DA7978}" dt="2018-10-09T15:11:53.554" v="678" actId="12789"/>
          <ac:spMkLst>
            <pc:docMk/>
            <pc:sldMk cId="1665240149" sldId="972"/>
            <ac:spMk id="118" creationId="{9DE2A5B2-B759-41A1-AE88-FB3A9F0E3132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19" creationId="{739B8FF7-CFE5-4ABC-A6AA-858A8BBDC9F7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20" creationId="{E9087DB5-551C-407F-8B87-08EE2F0261CC}"/>
          </ac:spMkLst>
        </pc:spChg>
        <pc:spChg chg="add mod">
          <ac:chgData name="LABER Thomas" userId="96015faa-664e-4cc8-9b59-58f0d166d35c" providerId="ADAL" clId="{CC114E4D-D11B-4603-BA46-01CAB1DA7978}" dt="2018-10-09T15:11:59.888" v="680" actId="12789"/>
          <ac:spMkLst>
            <pc:docMk/>
            <pc:sldMk cId="1665240149" sldId="972"/>
            <ac:spMk id="121" creationId="{BCD6F372-E869-4B96-B5FC-DB0F6844341C}"/>
          </ac:spMkLst>
        </pc:spChg>
        <pc:spChg chg="add del mod">
          <ac:chgData name="LABER Thomas" userId="96015faa-664e-4cc8-9b59-58f0d166d35c" providerId="ADAL" clId="{CC114E4D-D11B-4603-BA46-01CAB1DA7978}" dt="2018-10-09T14:43:58.352" v="456" actId="478"/>
          <ac:spMkLst>
            <pc:docMk/>
            <pc:sldMk cId="1665240149" sldId="972"/>
            <ac:spMk id="122" creationId="{9A5C074A-87D6-4D7E-A404-405EBEF6283C}"/>
          </ac:spMkLst>
        </pc:spChg>
        <pc:spChg chg="add del mod">
          <ac:chgData name="LABER Thomas" userId="96015faa-664e-4cc8-9b59-58f0d166d35c" providerId="ADAL" clId="{CC114E4D-D11B-4603-BA46-01CAB1DA7978}" dt="2018-10-09T14:43:47.389" v="454" actId="478"/>
          <ac:spMkLst>
            <pc:docMk/>
            <pc:sldMk cId="1665240149" sldId="972"/>
            <ac:spMk id="123" creationId="{C9F5027B-0B6B-46B5-BC20-FFB420B16166}"/>
          </ac:spMkLst>
        </pc:spChg>
        <pc:spChg chg="add del mod">
          <ac:chgData name="LABER Thomas" userId="96015faa-664e-4cc8-9b59-58f0d166d35c" providerId="ADAL" clId="{CC114E4D-D11B-4603-BA46-01CAB1DA7978}" dt="2018-10-09T14:43:47.389" v="454" actId="478"/>
          <ac:spMkLst>
            <pc:docMk/>
            <pc:sldMk cId="1665240149" sldId="972"/>
            <ac:spMk id="124" creationId="{B5B8EC89-D64D-4045-AB04-E64B98673062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30" creationId="{55EE9A61-CB7B-450C-A2EB-C8F0E8186C2D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33" creationId="{47F11870-BF64-49B1-84AF-0795AF221888}"/>
          </ac:spMkLst>
        </pc:spChg>
        <pc:spChg chg="add del mod">
          <ac:chgData name="LABER Thomas" userId="96015faa-664e-4cc8-9b59-58f0d166d35c" providerId="ADAL" clId="{CC114E4D-D11B-4603-BA46-01CAB1DA7978}" dt="2018-10-09T14:41:25.566" v="418"/>
          <ac:spMkLst>
            <pc:docMk/>
            <pc:sldMk cId="1665240149" sldId="972"/>
            <ac:spMk id="136" creationId="{52AEC349-5CAB-4643-A179-DC3EB1CC376A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45" creationId="{8108DD4B-41FE-4B48-8A73-F802EE00D6F8}"/>
          </ac:spMkLst>
        </pc:spChg>
        <pc:spChg chg="add mod">
          <ac:chgData name="LABER Thomas" userId="96015faa-664e-4cc8-9b59-58f0d166d35c" providerId="ADAL" clId="{CC114E4D-D11B-4603-BA46-01CAB1DA7978}" dt="2018-10-09T14:49:12.921" v="616" actId="1076"/>
          <ac:spMkLst>
            <pc:docMk/>
            <pc:sldMk cId="1665240149" sldId="972"/>
            <ac:spMk id="146" creationId="{9D7A17AF-EC4E-4902-99F3-0526C3D1CE91}"/>
          </ac:spMkLst>
        </pc:spChg>
        <pc:spChg chg="add mod">
          <ac:chgData name="LABER Thomas" userId="96015faa-664e-4cc8-9b59-58f0d166d35c" providerId="ADAL" clId="{CC114E4D-D11B-4603-BA46-01CAB1DA7978}" dt="2018-10-09T14:50:38.327" v="649" actId="1076"/>
          <ac:spMkLst>
            <pc:docMk/>
            <pc:sldMk cId="1665240149" sldId="972"/>
            <ac:spMk id="151" creationId="{8E06BCFE-C322-4355-BA1F-3E220C6A7AEB}"/>
          </ac:spMkLst>
        </pc:spChg>
        <pc:spChg chg="add mod">
          <ac:chgData name="LABER Thomas" userId="96015faa-664e-4cc8-9b59-58f0d166d35c" providerId="ADAL" clId="{CC114E4D-D11B-4603-BA46-01CAB1DA7978}" dt="2018-10-09T14:50:15.838" v="644" actId="20577"/>
          <ac:spMkLst>
            <pc:docMk/>
            <pc:sldMk cId="1665240149" sldId="972"/>
            <ac:spMk id="152" creationId="{4D211049-6568-4C0D-9CA2-7E12E91112E6}"/>
          </ac:spMkLst>
        </pc:s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5" creationId="{EFEF6F63-17F3-47F1-91A4-A16908F48977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6" creationId="{ECC61129-E477-427B-BE69-6E44DB747621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56" creationId="{08684080-0731-4E77-BAEF-B3359E1D909B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57" creationId="{BF799195-ABFD-49CE-B779-7CD759F598DA}"/>
          </ac:grpSpMkLst>
        </pc:grpChg>
        <pc:grpChg chg="add del mod ord">
          <ac:chgData name="LABER Thomas" userId="96015faa-664e-4cc8-9b59-58f0d166d35c" providerId="ADAL" clId="{CC114E4D-D11B-4603-BA46-01CAB1DA7978}" dt="2018-10-09T14:05:43.169" v="103" actId="478"/>
          <ac:grpSpMkLst>
            <pc:docMk/>
            <pc:sldMk cId="1665240149" sldId="972"/>
            <ac:grpSpMk id="58" creationId="{CB120EC8-C4FA-4566-89A6-2D995557A4A9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61" creationId="{4E39F45C-F5A0-4C4A-A8A0-138281A17D30}"/>
          </ac:grpSpMkLst>
        </pc:grpChg>
        <pc:grpChg chg="add del mod">
          <ac:chgData name="LABER Thomas" userId="96015faa-664e-4cc8-9b59-58f0d166d35c" providerId="ADAL" clId="{CC114E4D-D11B-4603-BA46-01CAB1DA7978}" dt="2018-10-09T14:06:32.273" v="116" actId="478"/>
          <ac:grpSpMkLst>
            <pc:docMk/>
            <pc:sldMk cId="1665240149" sldId="972"/>
            <ac:grpSpMk id="62" creationId="{DC74A46A-BB8A-4B9E-AAB8-4792EFC958AC}"/>
          </ac:grpSpMkLst>
        </pc:grpChg>
        <pc:grpChg chg="add del mod">
          <ac:chgData name="LABER Thomas" userId="96015faa-664e-4cc8-9b59-58f0d166d35c" providerId="ADAL" clId="{CC114E4D-D11B-4603-BA46-01CAB1DA7978}" dt="2018-10-09T14:34:12.734" v="297" actId="478"/>
          <ac:grpSpMkLst>
            <pc:docMk/>
            <pc:sldMk cId="1665240149" sldId="972"/>
            <ac:grpSpMk id="67" creationId="{94D0F1A1-31F5-4210-A953-6BB30B2AE16B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69" creationId="{0C0DFAE5-44C9-482E-A156-65F6B6EEC27F}"/>
          </ac:grpSpMkLst>
        </pc:grpChg>
        <pc:grpChg chg="add del mod">
          <ac:chgData name="LABER Thomas" userId="96015faa-664e-4cc8-9b59-58f0d166d35c" providerId="ADAL" clId="{CC114E4D-D11B-4603-BA46-01CAB1DA7978}" dt="2018-10-09T14:27:03.723" v="185" actId="478"/>
          <ac:grpSpMkLst>
            <pc:docMk/>
            <pc:sldMk cId="1665240149" sldId="972"/>
            <ac:grpSpMk id="77" creationId="{DE592B54-0644-4D11-B260-218D40F0E88E}"/>
          </ac:grpSpMkLst>
        </pc:grpChg>
        <pc:grpChg chg="add del mod">
          <ac:chgData name="LABER Thomas" userId="96015faa-664e-4cc8-9b59-58f0d166d35c" providerId="ADAL" clId="{CC114E4D-D11B-4603-BA46-01CAB1DA7978}" dt="2018-10-09T14:29:06.715" v="217" actId="478"/>
          <ac:grpSpMkLst>
            <pc:docMk/>
            <pc:sldMk cId="1665240149" sldId="972"/>
            <ac:grpSpMk id="82" creationId="{92BDCCE0-DC9D-4209-83BB-70DA29BCE5F2}"/>
          </ac:grpSpMkLst>
        </pc:grpChg>
        <pc:grpChg chg="add del mod">
          <ac:chgData name="LABER Thomas" userId="96015faa-664e-4cc8-9b59-58f0d166d35c" providerId="ADAL" clId="{CC114E4D-D11B-4603-BA46-01CAB1DA7978}" dt="2018-10-09T14:29:13.270" v="218" actId="478"/>
          <ac:grpSpMkLst>
            <pc:docMk/>
            <pc:sldMk cId="1665240149" sldId="972"/>
            <ac:grpSpMk id="85" creationId="{4783AE11-CC62-45F5-BEC2-A4B63BD6D168}"/>
          </ac:grpSpMkLst>
        </pc:grpChg>
        <pc:grpChg chg="add mod">
          <ac:chgData name="LABER Thomas" userId="96015faa-664e-4cc8-9b59-58f0d166d35c" providerId="ADAL" clId="{CC114E4D-D11B-4603-BA46-01CAB1DA7978}" dt="2018-10-09T14:49:12.921" v="616" actId="1076"/>
          <ac:grpSpMkLst>
            <pc:docMk/>
            <pc:sldMk cId="1665240149" sldId="972"/>
            <ac:grpSpMk id="88" creationId="{D6DDFFE2-CDA8-48E2-8FF6-A185CC48F4AF}"/>
          </ac:grpSpMkLst>
        </pc:grpChg>
        <pc:grpChg chg="add del mod">
          <ac:chgData name="LABER Thomas" userId="96015faa-664e-4cc8-9b59-58f0d166d35c" providerId="ADAL" clId="{CC114E4D-D11B-4603-BA46-01CAB1DA7978}" dt="2018-10-09T14:33:18.845" v="267" actId="478"/>
          <ac:grpSpMkLst>
            <pc:docMk/>
            <pc:sldMk cId="1665240149" sldId="972"/>
            <ac:grpSpMk id="92" creationId="{8FF90EA4-2146-4047-8521-C97EC39DE555}"/>
          </ac:grpSpMkLst>
        </pc:grpChg>
        <pc:grpChg chg="add del mod">
          <ac:chgData name="LABER Thomas" userId="96015faa-664e-4cc8-9b59-58f0d166d35c" providerId="ADAL" clId="{CC114E4D-D11B-4603-BA46-01CAB1DA7978}" dt="2018-10-09T14:33:15.926" v="265" actId="478"/>
          <ac:grpSpMkLst>
            <pc:docMk/>
            <pc:sldMk cId="1665240149" sldId="972"/>
            <ac:grpSpMk id="97" creationId="{7F5DCBC5-FEE1-4822-8BA5-3E81769B3319}"/>
          </ac:grpSpMkLst>
        </pc:grpChg>
        <pc:grpChg chg="add del mod">
          <ac:chgData name="LABER Thomas" userId="96015faa-664e-4cc8-9b59-58f0d166d35c" providerId="ADAL" clId="{CC114E4D-D11B-4603-BA46-01CAB1DA7978}" dt="2018-10-09T14:33:17.475" v="266" actId="478"/>
          <ac:grpSpMkLst>
            <pc:docMk/>
            <pc:sldMk cId="1665240149" sldId="972"/>
            <ac:grpSpMk id="101" creationId="{6C812C50-00C5-4A6E-8D9B-7C7D919AA5E3}"/>
          </ac:grpSpMkLst>
        </pc:grpChg>
        <pc:grpChg chg="add del mod">
          <ac:chgData name="LABER Thomas" userId="96015faa-664e-4cc8-9b59-58f0d166d35c" providerId="ADAL" clId="{CC114E4D-D11B-4603-BA46-01CAB1DA7978}" dt="2018-10-09T14:41:42.675" v="424" actId="478"/>
          <ac:grpSpMkLst>
            <pc:docMk/>
            <pc:sldMk cId="1665240149" sldId="972"/>
            <ac:grpSpMk id="115" creationId="{B579BA61-9B33-4040-B13E-FF5C35D7CC58}"/>
          </ac:grpSpMkLst>
        </pc:grpChg>
        <pc:picChg chg="add mod">
          <ac:chgData name="LABER Thomas" userId="96015faa-664e-4cc8-9b59-58f0d166d35c" providerId="ADAL" clId="{CC114E4D-D11B-4603-BA46-01CAB1DA7978}" dt="2018-10-09T14:06:01.562" v="111" actId="164"/>
          <ac:picMkLst>
            <pc:docMk/>
            <pc:sldMk cId="1665240149" sldId="972"/>
            <ac:picMk id="8" creationId="{4D9907B9-A1E4-421E-9664-221C510721F8}"/>
          </ac:picMkLst>
        </pc:picChg>
        <pc:picChg chg="add del">
          <ac:chgData name="LABER Thomas" userId="96015faa-664e-4cc8-9b59-58f0d166d35c" providerId="ADAL" clId="{CC114E4D-D11B-4603-BA46-01CAB1DA7978}" dt="2018-10-09T14:06:29.939" v="115"/>
          <ac:picMkLst>
            <pc:docMk/>
            <pc:sldMk cId="1665240149" sldId="972"/>
            <ac:picMk id="9" creationId="{A5070941-547F-42AC-9747-8E3742947392}"/>
          </ac:picMkLst>
        </pc:picChg>
        <pc:picChg chg="add mod">
          <ac:chgData name="LABER Thomas" userId="96015faa-664e-4cc8-9b59-58f0d166d35c" providerId="ADAL" clId="{CC114E4D-D11B-4603-BA46-01CAB1DA7978}" dt="2018-10-09T14:17:16.286" v="144" actId="164"/>
          <ac:picMkLst>
            <pc:docMk/>
            <pc:sldMk cId="1665240149" sldId="972"/>
            <ac:picMk id="10" creationId="{92EECB92-8B37-432C-B0C1-0004433B433B}"/>
          </ac:picMkLst>
        </pc:picChg>
        <pc:picChg chg="add del">
          <ac:chgData name="LABER Thomas" userId="96015faa-664e-4cc8-9b59-58f0d166d35c" providerId="ADAL" clId="{CC114E4D-D11B-4603-BA46-01CAB1DA7978}" dt="2018-10-09T14:26:14.314" v="178" actId="478"/>
          <ac:picMkLst>
            <pc:docMk/>
            <pc:sldMk cId="1665240149" sldId="972"/>
            <ac:picMk id="11" creationId="{EEB165B6-CDFA-43EA-8CD2-99A5532C9782}"/>
          </ac:picMkLst>
        </pc:picChg>
        <pc:picChg chg="add mod">
          <ac:chgData name="LABER Thomas" userId="96015faa-664e-4cc8-9b59-58f0d166d35c" providerId="ADAL" clId="{CC114E4D-D11B-4603-BA46-01CAB1DA7978}" dt="2018-10-09T14:00:26.530" v="98" actId="164"/>
          <ac:picMkLst>
            <pc:docMk/>
            <pc:sldMk cId="1665240149" sldId="972"/>
            <ac:picMk id="12" creationId="{355A5415-3910-4A8C-B0EF-E7FCDAB35DF3}"/>
          </ac:picMkLst>
        </pc:picChg>
        <pc:picChg chg="add del">
          <ac:chgData name="LABER Thomas" userId="96015faa-664e-4cc8-9b59-58f0d166d35c" providerId="ADAL" clId="{CC114E4D-D11B-4603-BA46-01CAB1DA7978}" dt="2018-10-09T14:17:18.468" v="145" actId="478"/>
          <ac:picMkLst>
            <pc:docMk/>
            <pc:sldMk cId="1665240149" sldId="972"/>
            <ac:picMk id="13" creationId="{66287B17-F589-4775-857F-5171C04A05D6}"/>
          </ac:picMkLst>
        </pc:picChg>
        <pc:picChg chg="add del">
          <ac:chgData name="LABER Thomas" userId="96015faa-664e-4cc8-9b59-58f0d166d35c" providerId="ADAL" clId="{CC114E4D-D11B-4603-BA46-01CAB1DA7978}" dt="2018-10-09T14:26:14.314" v="178" actId="478"/>
          <ac:picMkLst>
            <pc:docMk/>
            <pc:sldMk cId="1665240149" sldId="972"/>
            <ac:picMk id="22" creationId="{A5DB84BD-BE5C-4879-AF5B-9FB1EBDA87EA}"/>
          </ac:picMkLst>
        </pc:picChg>
        <pc:picChg chg="add del">
          <ac:chgData name="LABER Thomas" userId="96015faa-664e-4cc8-9b59-58f0d166d35c" providerId="ADAL" clId="{CC114E4D-D11B-4603-BA46-01CAB1DA7978}" dt="2018-10-09T14:26:14.314" v="178" actId="478"/>
          <ac:picMkLst>
            <pc:docMk/>
            <pc:sldMk cId="1665240149" sldId="972"/>
            <ac:picMk id="23" creationId="{ECFAC1C2-D225-428C-A5D7-40E295DFDBC4}"/>
          </ac:picMkLst>
        </pc:picChg>
        <pc:picChg chg="add del">
          <ac:chgData name="LABER Thomas" userId="96015faa-664e-4cc8-9b59-58f0d166d35c" providerId="ADAL" clId="{CC114E4D-D11B-4603-BA46-01CAB1DA7978}" dt="2018-10-09T14:26:14.314" v="178" actId="478"/>
          <ac:picMkLst>
            <pc:docMk/>
            <pc:sldMk cId="1665240149" sldId="972"/>
            <ac:picMk id="24" creationId="{EDC85763-8D25-4C9F-BBD9-41DF096E81ED}"/>
          </ac:picMkLst>
        </pc:picChg>
        <pc:picChg chg="add del">
          <ac:chgData name="LABER Thomas" userId="96015faa-664e-4cc8-9b59-58f0d166d35c" providerId="ADAL" clId="{CC114E4D-D11B-4603-BA46-01CAB1DA7978}" dt="2018-10-09T14:26:14.314" v="178" actId="478"/>
          <ac:picMkLst>
            <pc:docMk/>
            <pc:sldMk cId="1665240149" sldId="972"/>
            <ac:picMk id="25" creationId="{0F986495-8DF3-4067-A63C-912DEDCC3F8C}"/>
          </ac:picMkLst>
        </pc:picChg>
        <pc:picChg chg="add del">
          <ac:chgData name="LABER Thomas" userId="96015faa-664e-4cc8-9b59-58f0d166d35c" providerId="ADAL" clId="{CC114E4D-D11B-4603-BA46-01CAB1DA7978}" dt="2018-10-09T14:37:17.686" v="370" actId="478"/>
          <ac:picMkLst>
            <pc:docMk/>
            <pc:sldMk cId="1665240149" sldId="972"/>
            <ac:picMk id="51" creationId="{4D52E845-B798-483D-AB75-33D8F756C7F7}"/>
          </ac:picMkLst>
        </pc:picChg>
        <pc:picChg chg="del topLvl">
          <ac:chgData name="LABER Thomas" userId="96015faa-664e-4cc8-9b59-58f0d166d35c" providerId="ADAL" clId="{CC114E4D-D11B-4603-BA46-01CAB1DA7978}" dt="2018-10-09T14:05:43.169" v="103" actId="478"/>
          <ac:picMkLst>
            <pc:docMk/>
            <pc:sldMk cId="1665240149" sldId="972"/>
            <ac:picMk id="60" creationId="{D29282B1-5245-4417-AF98-187F7F88B33F}"/>
          </ac:picMkLst>
        </pc:picChg>
        <pc:picChg chg="del topLvl">
          <ac:chgData name="LABER Thomas" userId="96015faa-664e-4cc8-9b59-58f0d166d35c" providerId="ADAL" clId="{CC114E4D-D11B-4603-BA46-01CAB1DA7978}" dt="2018-10-09T14:06:32.273" v="116" actId="478"/>
          <ac:picMkLst>
            <pc:docMk/>
            <pc:sldMk cId="1665240149" sldId="972"/>
            <ac:picMk id="64" creationId="{DA5DBC1D-9E25-4B68-B36D-9A6C71C8655A}"/>
          </ac:picMkLst>
        </pc:picChg>
        <pc:picChg chg="add mod">
          <ac:chgData name="LABER Thomas" userId="96015faa-664e-4cc8-9b59-58f0d166d35c" providerId="ADAL" clId="{CC114E4D-D11B-4603-BA46-01CAB1DA7978}" dt="2018-10-09T14:07:16.057" v="133" actId="12789"/>
          <ac:picMkLst>
            <pc:docMk/>
            <pc:sldMk cId="1665240149" sldId="972"/>
            <ac:picMk id="65" creationId="{617E43C7-E645-4590-90E7-FFEFAB505561}"/>
          </ac:picMkLst>
        </pc:picChg>
        <pc:picChg chg="del">
          <ac:chgData name="LABER Thomas" userId="96015faa-664e-4cc8-9b59-58f0d166d35c" providerId="ADAL" clId="{CC114E4D-D11B-4603-BA46-01CAB1DA7978}" dt="2018-10-09T13:48:14.567" v="74" actId="478"/>
          <ac:picMkLst>
            <pc:docMk/>
            <pc:sldMk cId="1665240149" sldId="972"/>
            <ac:picMk id="73" creationId="{D581B0AD-B7C5-4DC6-9A1C-785824C663B7}"/>
          </ac:picMkLst>
        </pc:picChg>
        <pc:picChg chg="del topLvl">
          <ac:chgData name="LABER Thomas" userId="96015faa-664e-4cc8-9b59-58f0d166d35c" providerId="ADAL" clId="{CC114E4D-D11B-4603-BA46-01CAB1DA7978}" dt="2018-10-09T14:27:03.723" v="185" actId="478"/>
          <ac:picMkLst>
            <pc:docMk/>
            <pc:sldMk cId="1665240149" sldId="972"/>
            <ac:picMk id="79" creationId="{B2BA36F2-3459-4081-8578-36DC39BEE596}"/>
          </ac:picMkLst>
        </pc:picChg>
        <pc:picChg chg="add mod">
          <ac:chgData name="LABER Thomas" userId="96015faa-664e-4cc8-9b59-58f0d166d35c" providerId="ADAL" clId="{CC114E4D-D11B-4603-BA46-01CAB1DA7978}" dt="2018-10-09T14:28:32.839" v="210" actId="164"/>
          <ac:picMkLst>
            <pc:docMk/>
            <pc:sldMk cId="1665240149" sldId="972"/>
            <ac:picMk id="80" creationId="{5ABE48AD-7D54-4023-820D-38C8767D2EA6}"/>
          </ac:picMkLst>
        </pc:picChg>
        <pc:picChg chg="add mod">
          <ac:chgData name="LABER Thomas" userId="96015faa-664e-4cc8-9b59-58f0d166d35c" providerId="ADAL" clId="{CC114E4D-D11B-4603-BA46-01CAB1DA7978}" dt="2018-10-09T14:29:46.093" v="230" actId="164"/>
          <ac:picMkLst>
            <pc:docMk/>
            <pc:sldMk cId="1665240149" sldId="972"/>
            <ac:picMk id="81" creationId="{97F497F5-7CB4-46E2-90D1-921D7D316DA0}"/>
          </ac:picMkLst>
        </pc:picChg>
        <pc:picChg chg="del topLvl">
          <ac:chgData name="LABER Thomas" userId="96015faa-664e-4cc8-9b59-58f0d166d35c" providerId="ADAL" clId="{CC114E4D-D11B-4603-BA46-01CAB1DA7978}" dt="2018-10-09T14:29:13.270" v="218" actId="478"/>
          <ac:picMkLst>
            <pc:docMk/>
            <pc:sldMk cId="1665240149" sldId="972"/>
            <ac:picMk id="87" creationId="{B12E6D9E-9921-498E-BEC8-C4257294E202}"/>
          </ac:picMkLst>
        </pc:picChg>
        <pc:picChg chg="del topLvl">
          <ac:chgData name="LABER Thomas" userId="96015faa-664e-4cc8-9b59-58f0d166d35c" providerId="ADAL" clId="{CC114E4D-D11B-4603-BA46-01CAB1DA7978}" dt="2018-10-09T14:33:18.845" v="267" actId="478"/>
          <ac:picMkLst>
            <pc:docMk/>
            <pc:sldMk cId="1665240149" sldId="972"/>
            <ac:picMk id="94" creationId="{D28C5D3E-7B74-4121-82E6-E231C65FA93B}"/>
          </ac:picMkLst>
        </pc:picChg>
        <pc:picChg chg="del topLvl">
          <ac:chgData name="LABER Thomas" userId="96015faa-664e-4cc8-9b59-58f0d166d35c" providerId="ADAL" clId="{CC114E4D-D11B-4603-BA46-01CAB1DA7978}" dt="2018-10-09T14:33:15.926" v="265" actId="478"/>
          <ac:picMkLst>
            <pc:docMk/>
            <pc:sldMk cId="1665240149" sldId="972"/>
            <ac:picMk id="99" creationId="{8C4C9F08-7CEA-429C-91C2-B4A92576E1D5}"/>
          </ac:picMkLst>
        </pc:picChg>
        <pc:picChg chg="del topLvl">
          <ac:chgData name="LABER Thomas" userId="96015faa-664e-4cc8-9b59-58f0d166d35c" providerId="ADAL" clId="{CC114E4D-D11B-4603-BA46-01CAB1DA7978}" dt="2018-10-09T14:33:17.475" v="266" actId="478"/>
          <ac:picMkLst>
            <pc:docMk/>
            <pc:sldMk cId="1665240149" sldId="972"/>
            <ac:picMk id="103" creationId="{44A56BA4-F55C-406A-B222-B965CE5E5237}"/>
          </ac:picMkLst>
        </pc:picChg>
        <pc:picChg chg="add mod">
          <ac:chgData name="LABER Thomas" userId="96015faa-664e-4cc8-9b59-58f0d166d35c" providerId="ADAL" clId="{CC114E4D-D11B-4603-BA46-01CAB1DA7978}" dt="2018-10-09T14:49:12.921" v="616" actId="1076"/>
          <ac:picMkLst>
            <pc:docMk/>
            <pc:sldMk cId="1665240149" sldId="972"/>
            <ac:picMk id="105" creationId="{86889332-47E4-4955-9C67-605FC49630F1}"/>
          </ac:picMkLst>
        </pc:picChg>
        <pc:picChg chg="add mod">
          <ac:chgData name="LABER Thomas" userId="96015faa-664e-4cc8-9b59-58f0d166d35c" providerId="ADAL" clId="{CC114E4D-D11B-4603-BA46-01CAB1DA7978}" dt="2018-10-09T14:49:12.921" v="616" actId="1076"/>
          <ac:picMkLst>
            <pc:docMk/>
            <pc:sldMk cId="1665240149" sldId="972"/>
            <ac:picMk id="106" creationId="{B4C829BC-4BB3-4E3A-8977-FB6651CD7B13}"/>
          </ac:picMkLst>
        </pc:picChg>
        <pc:picChg chg="add mod">
          <ac:chgData name="LABER Thomas" userId="96015faa-664e-4cc8-9b59-58f0d166d35c" providerId="ADAL" clId="{CC114E4D-D11B-4603-BA46-01CAB1DA7978}" dt="2018-10-09T14:49:12.921" v="616" actId="1076"/>
          <ac:picMkLst>
            <pc:docMk/>
            <pc:sldMk cId="1665240149" sldId="972"/>
            <ac:picMk id="107" creationId="{3DF67CA2-E65B-45ED-96DC-17FE1CDD106F}"/>
          </ac:picMkLst>
        </pc:picChg>
        <pc:picChg chg="del topLvl">
          <ac:chgData name="LABER Thomas" userId="96015faa-664e-4cc8-9b59-58f0d166d35c" providerId="ADAL" clId="{CC114E4D-D11B-4603-BA46-01CAB1DA7978}" dt="2018-10-09T14:41:42.675" v="424" actId="478"/>
          <ac:picMkLst>
            <pc:docMk/>
            <pc:sldMk cId="1665240149" sldId="972"/>
            <ac:picMk id="117" creationId="{BEB69C33-9DBF-43EB-870C-0E82AB63D217}"/>
          </ac:picMkLst>
        </pc:picChg>
        <pc:picChg chg="add del mod">
          <ac:chgData name="LABER Thomas" userId="96015faa-664e-4cc8-9b59-58f0d166d35c" providerId="ADAL" clId="{CC114E4D-D11B-4603-BA46-01CAB1DA7978}" dt="2018-10-09T14:48:51.555" v="614" actId="478"/>
          <ac:picMkLst>
            <pc:docMk/>
            <pc:sldMk cId="1665240149" sldId="972"/>
            <ac:picMk id="125" creationId="{67AB8F3D-F58A-4D23-B6E5-B0FB1140EE1F}"/>
          </ac:picMkLst>
        </pc:picChg>
        <pc:picChg chg="add del mod">
          <ac:chgData name="LABER Thomas" userId="96015faa-664e-4cc8-9b59-58f0d166d35c" providerId="ADAL" clId="{CC114E4D-D11B-4603-BA46-01CAB1DA7978}" dt="2018-10-09T14:43:47.389" v="454" actId="478"/>
          <ac:picMkLst>
            <pc:docMk/>
            <pc:sldMk cId="1665240149" sldId="972"/>
            <ac:picMk id="126" creationId="{8FC1E574-F031-4DAE-87B2-DCE73CFF8D81}"/>
          </ac:picMkLst>
        </pc:picChg>
        <pc:picChg chg="add del mod">
          <ac:chgData name="LABER Thomas" userId="96015faa-664e-4cc8-9b59-58f0d166d35c" providerId="ADAL" clId="{CC114E4D-D11B-4603-BA46-01CAB1DA7978}" dt="2018-10-09T14:48:53.120" v="615" actId="478"/>
          <ac:picMkLst>
            <pc:docMk/>
            <pc:sldMk cId="1665240149" sldId="972"/>
            <ac:picMk id="127" creationId="{5175612D-71CF-4163-A64A-60D9EC0845ED}"/>
          </ac:picMkLst>
        </pc:picChg>
        <pc:picChg chg="add mod">
          <ac:chgData name="LABER Thomas" userId="96015faa-664e-4cc8-9b59-58f0d166d35c" providerId="ADAL" clId="{CC114E4D-D11B-4603-BA46-01CAB1DA7978}" dt="2018-10-09T14:49:12.921" v="616" actId="1076"/>
          <ac:picMkLst>
            <pc:docMk/>
            <pc:sldMk cId="1665240149" sldId="972"/>
            <ac:picMk id="138" creationId="{05DAFA84-2A7D-4EBA-86F0-0B095FADA46A}"/>
          </ac:picMkLst>
        </pc:picChg>
        <pc:picChg chg="add del mod">
          <ac:chgData name="LABER Thomas" userId="96015faa-664e-4cc8-9b59-58f0d166d35c" providerId="ADAL" clId="{CC114E4D-D11B-4603-BA46-01CAB1DA7978}" dt="2018-10-09T15:09:31.138" v="656" actId="478"/>
          <ac:picMkLst>
            <pc:docMk/>
            <pc:sldMk cId="1665240149" sldId="972"/>
            <ac:picMk id="154" creationId="{431BA514-4D5E-4CAA-91BC-76AF8AE85D1B}"/>
          </ac:picMkLst>
        </pc:picChg>
        <pc:picChg chg="add del">
          <ac:chgData name="LABER Thomas" userId="96015faa-664e-4cc8-9b59-58f0d166d35c" providerId="ADAL" clId="{CC114E4D-D11B-4603-BA46-01CAB1DA7978}" dt="2018-10-09T15:10:53.293" v="658" actId="478"/>
          <ac:picMkLst>
            <pc:docMk/>
            <pc:sldMk cId="1665240149" sldId="972"/>
            <ac:picMk id="155" creationId="{0C890387-6C00-4925-821C-E54F7E025FD9}"/>
          </ac:picMkLst>
        </pc:picChg>
        <pc:picChg chg="add mod modCrop">
          <ac:chgData name="LABER Thomas" userId="96015faa-664e-4cc8-9b59-58f0d166d35c" providerId="ADAL" clId="{CC114E4D-D11B-4603-BA46-01CAB1DA7978}" dt="2018-10-09T15:11:59.888" v="680" actId="12789"/>
          <ac:picMkLst>
            <pc:docMk/>
            <pc:sldMk cId="1665240149" sldId="972"/>
            <ac:picMk id="157" creationId="{FD6BCDC6-8809-4042-8FD2-D3B5B8D2B32D}"/>
          </ac:picMkLst>
        </pc:picChg>
        <pc:picChg chg="add mod">
          <ac:chgData name="LABER Thomas" userId="96015faa-664e-4cc8-9b59-58f0d166d35c" providerId="ADAL" clId="{CC114E4D-D11B-4603-BA46-01CAB1DA7978}" dt="2018-10-09T15:11:53.554" v="678" actId="12789"/>
          <ac:picMkLst>
            <pc:docMk/>
            <pc:sldMk cId="1665240149" sldId="972"/>
            <ac:picMk id="158" creationId="{84086170-94BD-4E82-8E11-C5A703EF79E1}"/>
          </ac:picMkLst>
        </pc:picChg>
        <pc:cxnChg chg="add del mod">
          <ac:chgData name="LABER Thomas" userId="96015faa-664e-4cc8-9b59-58f0d166d35c" providerId="ADAL" clId="{CC114E4D-D11B-4603-BA46-01CAB1DA7978}" dt="2018-10-09T14:36:26.183" v="340" actId="478"/>
          <ac:cxnSpMkLst>
            <pc:docMk/>
            <pc:sldMk cId="1665240149" sldId="972"/>
            <ac:cxnSpMk id="32" creationId="{436A79D6-7508-45F5-929F-8A5FA20A7366}"/>
          </ac:cxnSpMkLst>
        </pc:cxnChg>
        <pc:cxnChg chg="add mod or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33" creationId="{9CE38EF3-694A-45CD-A43B-57443CC9BF39}"/>
          </ac:cxnSpMkLst>
        </pc:cxnChg>
        <pc:cxnChg chg="add del">
          <ac:chgData name="LABER Thomas" userId="96015faa-664e-4cc8-9b59-58f0d166d35c" providerId="ADAL" clId="{CC114E4D-D11B-4603-BA46-01CAB1DA7978}" dt="2018-10-09T14:36:29.034" v="343" actId="478"/>
          <ac:cxnSpMkLst>
            <pc:docMk/>
            <pc:sldMk cId="1665240149" sldId="972"/>
            <ac:cxnSpMk id="36" creationId="{8C377402-7FCE-4908-99B5-D3481A24BCEB}"/>
          </ac:cxnSpMkLst>
        </pc:cxnChg>
        <pc:cxnChg chg="add del mod">
          <ac:chgData name="LABER Thomas" userId="96015faa-664e-4cc8-9b59-58f0d166d35c" providerId="ADAL" clId="{CC114E4D-D11B-4603-BA46-01CAB1DA7978}" dt="2018-10-09T14:36:27.021" v="341" actId="478"/>
          <ac:cxnSpMkLst>
            <pc:docMk/>
            <pc:sldMk cId="1665240149" sldId="972"/>
            <ac:cxnSpMk id="37" creationId="{38C2E056-0DFC-4510-8DBA-E3D50C27EC84}"/>
          </ac:cxnSpMkLst>
        </pc:cxnChg>
        <pc:cxnChg chg="add del">
          <ac:chgData name="LABER Thomas" userId="96015faa-664e-4cc8-9b59-58f0d166d35c" providerId="ADAL" clId="{CC114E4D-D11B-4603-BA46-01CAB1DA7978}" dt="2018-10-09T14:26:14.314" v="178" actId="478"/>
          <ac:cxnSpMkLst>
            <pc:docMk/>
            <pc:sldMk cId="1665240149" sldId="972"/>
            <ac:cxnSpMk id="44" creationId="{0EEAAD81-FB56-46E6-BBD6-CB0424479136}"/>
          </ac:cxnSpMkLst>
        </pc:cxnChg>
        <pc:cxnChg chg="add del">
          <ac:chgData name="LABER Thomas" userId="96015faa-664e-4cc8-9b59-58f0d166d35c" providerId="ADAL" clId="{CC114E4D-D11B-4603-BA46-01CAB1DA7978}" dt="2018-10-09T14:37:17.686" v="370" actId="478"/>
          <ac:cxnSpMkLst>
            <pc:docMk/>
            <pc:sldMk cId="1665240149" sldId="972"/>
            <ac:cxnSpMk id="45" creationId="{2FC1E520-CB36-4B28-A56D-BA1BB63DA67A}"/>
          </ac:cxnSpMkLst>
        </pc:cxnChg>
        <pc:cxnChg chg="add del">
          <ac:chgData name="LABER Thomas" userId="96015faa-664e-4cc8-9b59-58f0d166d35c" providerId="ADAL" clId="{CC114E4D-D11B-4603-BA46-01CAB1DA7978}" dt="2018-10-09T14:37:17.686" v="370" actId="478"/>
          <ac:cxnSpMkLst>
            <pc:docMk/>
            <pc:sldMk cId="1665240149" sldId="972"/>
            <ac:cxnSpMk id="46" creationId="{E041983E-C46C-4C21-8BBD-1DEA2FF6F275}"/>
          </ac:cxnSpMkLst>
        </pc:cxnChg>
        <pc:cxnChg chg="add del">
          <ac:chgData name="LABER Thomas" userId="96015faa-664e-4cc8-9b59-58f0d166d35c" providerId="ADAL" clId="{CC114E4D-D11B-4603-BA46-01CAB1DA7978}" dt="2018-10-09T14:26:14.314" v="178" actId="478"/>
          <ac:cxnSpMkLst>
            <pc:docMk/>
            <pc:sldMk cId="1665240149" sldId="972"/>
            <ac:cxnSpMk id="50" creationId="{EA17A1EF-2845-4345-8DD6-7890CAE52D83}"/>
          </ac:cxnSpMkLst>
        </pc:cxnChg>
        <pc:cxnChg chg="add del">
          <ac:chgData name="LABER Thomas" userId="96015faa-664e-4cc8-9b59-58f0d166d35c" providerId="ADAL" clId="{CC114E4D-D11B-4603-BA46-01CAB1DA7978}" dt="2018-10-09T14:26:14.314" v="178" actId="478"/>
          <ac:cxnSpMkLst>
            <pc:docMk/>
            <pc:sldMk cId="1665240149" sldId="972"/>
            <ac:cxnSpMk id="53" creationId="{6D3DCC97-1B1A-4366-97EC-AEC72BA13702}"/>
          </ac:cxnSpMkLst>
        </pc:cxnChg>
        <pc:cxnChg chg="add del">
          <ac:chgData name="LABER Thomas" userId="96015faa-664e-4cc8-9b59-58f0d166d35c" providerId="ADAL" clId="{CC114E4D-D11B-4603-BA46-01CAB1DA7978}" dt="2018-10-09T14:26:14.314" v="178" actId="478"/>
          <ac:cxnSpMkLst>
            <pc:docMk/>
            <pc:sldMk cId="1665240149" sldId="972"/>
            <ac:cxnSpMk id="54" creationId="{7B755460-0252-4F33-B2DE-CEF482955107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10" creationId="{DD7EF6CE-B41D-4CDF-BB55-A283C83CAF52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11" creationId="{64191406-E988-4485-83BC-0903CEF8E5AC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28" creationId="{9C7EFCF7-8779-436D-B89C-0FAD6DF577E4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29" creationId="{A8E5454A-AFE3-43F8-8BC9-253E815AB28E}"/>
          </ac:cxnSpMkLst>
        </pc:cxnChg>
        <pc:cxnChg chg="add del mod ord">
          <ac:chgData name="LABER Thomas" userId="96015faa-664e-4cc8-9b59-58f0d166d35c" providerId="ADAL" clId="{CC114E4D-D11B-4603-BA46-01CAB1DA7978}" dt="2018-10-09T14:45:58.878" v="534" actId="478"/>
          <ac:cxnSpMkLst>
            <pc:docMk/>
            <pc:sldMk cId="1665240149" sldId="972"/>
            <ac:cxnSpMk id="132" creationId="{8EF90B1C-36FF-4B36-BDC6-F318E4FDCBB8}"/>
          </ac:cxnSpMkLst>
        </pc:cxnChg>
        <pc:cxnChg chg="add del mod">
          <ac:chgData name="LABER Thomas" userId="96015faa-664e-4cc8-9b59-58f0d166d35c" providerId="ADAL" clId="{CC114E4D-D11B-4603-BA46-01CAB1DA7978}" dt="2018-10-09T14:41:25.566" v="418"/>
          <ac:cxnSpMkLst>
            <pc:docMk/>
            <pc:sldMk cId="1665240149" sldId="972"/>
            <ac:cxnSpMk id="135" creationId="{47F8EF75-3A05-4944-B19A-40E20EEB6125}"/>
          </ac:cxnSpMkLst>
        </pc:cxnChg>
        <pc:cxnChg chg="add del mod">
          <ac:chgData name="LABER Thomas" userId="96015faa-664e-4cc8-9b59-58f0d166d35c" providerId="ADAL" clId="{CC114E4D-D11B-4603-BA46-01CAB1DA7978}" dt="2018-10-09T14:45:57.042" v="533" actId="478"/>
          <ac:cxnSpMkLst>
            <pc:docMk/>
            <pc:sldMk cId="1665240149" sldId="972"/>
            <ac:cxnSpMk id="139" creationId="{1F49723D-3E8F-428E-9115-D00D3A789970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42" creationId="{BE2EF515-C388-48F6-9272-68331744BC66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43" creationId="{E8F7853A-156E-4798-957E-3C14C3DA0AE3}"/>
          </ac:cxnSpMkLst>
        </pc:cxnChg>
        <pc:cxnChg chg="add mod">
          <ac:chgData name="LABER Thomas" userId="96015faa-664e-4cc8-9b59-58f0d166d35c" providerId="ADAL" clId="{CC114E4D-D11B-4603-BA46-01CAB1DA7978}" dt="2018-10-09T14:49:12.921" v="616" actId="1076"/>
          <ac:cxnSpMkLst>
            <pc:docMk/>
            <pc:sldMk cId="1665240149" sldId="972"/>
            <ac:cxnSpMk id="144" creationId="{5F4730E1-9087-429A-A03F-C59E7556D501}"/>
          </ac:cxnSpMkLst>
        </pc:cxnChg>
        <pc:cxnChg chg="add del mod">
          <ac:chgData name="LABER Thomas" userId="96015faa-664e-4cc8-9b59-58f0d166d35c" providerId="ADAL" clId="{CC114E4D-D11B-4603-BA46-01CAB1DA7978}" dt="2018-10-09T14:50:26.486" v="646" actId="478"/>
          <ac:cxnSpMkLst>
            <pc:docMk/>
            <pc:sldMk cId="1665240149" sldId="972"/>
            <ac:cxnSpMk id="147" creationId="{0A8EDA08-8B32-4F26-AAA0-FC6046906DBD}"/>
          </ac:cxnSpMkLst>
        </pc:cxnChg>
        <pc:cxnChg chg="add mod">
          <ac:chgData name="LABER Thomas" userId="96015faa-664e-4cc8-9b59-58f0d166d35c" providerId="ADAL" clId="{CC114E4D-D11B-4603-BA46-01CAB1DA7978}" dt="2018-10-09T14:49:50.363" v="627" actId="1076"/>
          <ac:cxnSpMkLst>
            <pc:docMk/>
            <pc:sldMk cId="1665240149" sldId="972"/>
            <ac:cxnSpMk id="149" creationId="{31949464-7645-4B3E-9BE5-3A1A37BA38C6}"/>
          </ac:cxnSpMkLst>
        </pc:cxnChg>
        <pc:cxnChg chg="add mod">
          <ac:chgData name="LABER Thomas" userId="96015faa-664e-4cc8-9b59-58f0d166d35c" providerId="ADAL" clId="{CC114E4D-D11B-4603-BA46-01CAB1DA7978}" dt="2018-10-09T14:50:33.669" v="648" actId="1076"/>
          <ac:cxnSpMkLst>
            <pc:docMk/>
            <pc:sldMk cId="1665240149" sldId="972"/>
            <ac:cxnSpMk id="153" creationId="{17A09B99-8C63-438A-A10E-54CF37AA5C09}"/>
          </ac:cxnSpMkLst>
        </pc:cxnChg>
      </pc:sldChg>
      <pc:sldChg chg="add del">
        <pc:chgData name="LABER Thomas" userId="96015faa-664e-4cc8-9b59-58f0d166d35c" providerId="ADAL" clId="{CC114E4D-D11B-4603-BA46-01CAB1DA7978}" dt="2018-10-09T14:34:23.527" v="301"/>
        <pc:sldMkLst>
          <pc:docMk/>
          <pc:sldMk cId="2557269418" sldId="973"/>
        </pc:sldMkLst>
      </pc:sldChg>
      <pc:sldChg chg="delSp modSp add">
        <pc:chgData name="LABER Thomas" userId="96015faa-664e-4cc8-9b59-58f0d166d35c" providerId="ADAL" clId="{CC114E4D-D11B-4603-BA46-01CAB1DA7978}" dt="2018-10-09T15:15:53.517" v="706" actId="113"/>
        <pc:sldMkLst>
          <pc:docMk/>
          <pc:sldMk cId="3858638585" sldId="973"/>
        </pc:sldMkLst>
        <pc:spChg chg="mod topLvl">
          <ac:chgData name="LABER Thomas" userId="96015faa-664e-4cc8-9b59-58f0d166d35c" providerId="ADAL" clId="{CC114E4D-D11B-4603-BA46-01CAB1DA7978}" dt="2018-10-09T15:15:53.517" v="706" actId="113"/>
          <ac:spMkLst>
            <pc:docMk/>
            <pc:sldMk cId="3858638585" sldId="973"/>
            <ac:spMk id="5" creationId="{F99949B9-2525-4F09-91C4-C9C784A6125A}"/>
          </ac:spMkLst>
        </pc:spChg>
        <pc:spChg chg="mod topLvl">
          <ac:chgData name="LABER Thomas" userId="96015faa-664e-4cc8-9b59-58f0d166d35c" providerId="ADAL" clId="{CC114E4D-D11B-4603-BA46-01CAB1DA7978}" dt="2018-10-09T15:15:53.517" v="706" actId="113"/>
          <ac:spMkLst>
            <pc:docMk/>
            <pc:sldMk cId="3858638585" sldId="973"/>
            <ac:spMk id="36" creationId="{E1C2C09C-0FA1-4EC7-8C3B-BB886608F65A}"/>
          </ac:spMkLst>
        </pc:spChg>
        <pc:grpChg chg="del">
          <ac:chgData name="LABER Thomas" userId="96015faa-664e-4cc8-9b59-58f0d166d35c" providerId="ADAL" clId="{CC114E4D-D11B-4603-BA46-01CAB1DA7978}" dt="2018-10-09T15:14:50.685" v="689" actId="478"/>
          <ac:grpSpMkLst>
            <pc:docMk/>
            <pc:sldMk cId="3858638585" sldId="973"/>
            <ac:grpSpMk id="6" creationId="{D38B1BE6-3135-4874-BB2D-97DDA0B2AB4C}"/>
          </ac:grpSpMkLst>
        </pc:grpChg>
        <pc:grpChg chg="del">
          <ac:chgData name="LABER Thomas" userId="96015faa-664e-4cc8-9b59-58f0d166d35c" providerId="ADAL" clId="{CC114E4D-D11B-4603-BA46-01CAB1DA7978}" dt="2018-10-09T15:15:10.967" v="697" actId="478"/>
          <ac:grpSpMkLst>
            <pc:docMk/>
            <pc:sldMk cId="3858638585" sldId="973"/>
            <ac:grpSpMk id="34" creationId="{7A67EA5B-24D8-4EE2-814C-7A2715F5B15E}"/>
          </ac:grpSpMkLst>
        </pc:grpChg>
        <pc:cxnChg chg="del topLvl">
          <ac:chgData name="LABER Thomas" userId="96015faa-664e-4cc8-9b59-58f0d166d35c" providerId="ADAL" clId="{CC114E4D-D11B-4603-BA46-01CAB1DA7978}" dt="2018-10-09T15:14:50.685" v="689" actId="478"/>
          <ac:cxnSpMkLst>
            <pc:docMk/>
            <pc:sldMk cId="3858638585" sldId="973"/>
            <ac:cxnSpMk id="3" creationId="{53763A92-4554-4798-A659-31D4FB49E3D1}"/>
          </ac:cxnSpMkLst>
        </pc:cxnChg>
        <pc:cxnChg chg="del topLvl">
          <ac:chgData name="LABER Thomas" userId="96015faa-664e-4cc8-9b59-58f0d166d35c" providerId="ADAL" clId="{CC114E4D-D11B-4603-BA46-01CAB1DA7978}" dt="2018-10-09T15:15:10.967" v="697" actId="478"/>
          <ac:cxnSpMkLst>
            <pc:docMk/>
            <pc:sldMk cId="3858638585" sldId="973"/>
            <ac:cxnSpMk id="35" creationId="{3D7B9F55-22F8-45A3-927C-74B8F73BCB26}"/>
          </ac:cxnSpMkLst>
        </pc:cxnChg>
      </pc:sldChg>
    </pc:docChg>
  </pc:docChgLst>
  <pc:docChgLst>
    <pc:chgData name="BODNER Christoph" userId="0e348722-d6b4-4f3e-b89e-da69cac527be" providerId="ADAL" clId="{3DE7FF81-473B-4874-A889-D0073A3D9F1A}"/>
    <pc:docChg chg="delSld modSection">
      <pc:chgData name="BODNER Christoph" userId="0e348722-d6b4-4f3e-b89e-da69cac527be" providerId="ADAL" clId="{3DE7FF81-473B-4874-A889-D0073A3D9F1A}" dt="2018-10-08T17:48:18.288" v="30" actId="2696"/>
      <pc:docMkLst>
        <pc:docMk/>
      </pc:docMkLst>
      <pc:sldChg chg="del">
        <pc:chgData name="BODNER Christoph" userId="0e348722-d6b4-4f3e-b89e-da69cac527be" providerId="ADAL" clId="{3DE7FF81-473B-4874-A889-D0073A3D9F1A}" dt="2018-10-08T17:48:17.822" v="14" actId="2696"/>
        <pc:sldMkLst>
          <pc:docMk/>
          <pc:sldMk cId="3414679551" sldId="370"/>
        </pc:sldMkLst>
      </pc:sldChg>
      <pc:sldChg chg="del">
        <pc:chgData name="BODNER Christoph" userId="0e348722-d6b4-4f3e-b89e-da69cac527be" providerId="ADAL" clId="{3DE7FF81-473B-4874-A889-D0073A3D9F1A}" dt="2018-10-08T17:48:17.549" v="8" actId="2696"/>
        <pc:sldMkLst>
          <pc:docMk/>
          <pc:sldMk cId="1957603866" sldId="386"/>
        </pc:sldMkLst>
      </pc:sldChg>
      <pc:sldChg chg="del">
        <pc:chgData name="BODNER Christoph" userId="0e348722-d6b4-4f3e-b89e-da69cac527be" providerId="ADAL" clId="{3DE7FF81-473B-4874-A889-D0073A3D9F1A}" dt="2018-10-08T17:48:17.582" v="9" actId="2696"/>
        <pc:sldMkLst>
          <pc:docMk/>
          <pc:sldMk cId="3642438738" sldId="387"/>
        </pc:sldMkLst>
      </pc:sldChg>
      <pc:sldChg chg="del">
        <pc:chgData name="BODNER Christoph" userId="0e348722-d6b4-4f3e-b89e-da69cac527be" providerId="ADAL" clId="{3DE7FF81-473B-4874-A889-D0073A3D9F1A}" dt="2018-10-08T17:48:17.623" v="10" actId="2696"/>
        <pc:sldMkLst>
          <pc:docMk/>
          <pc:sldMk cId="1334544546" sldId="388"/>
        </pc:sldMkLst>
      </pc:sldChg>
      <pc:sldChg chg="del">
        <pc:chgData name="BODNER Christoph" userId="0e348722-d6b4-4f3e-b89e-da69cac527be" providerId="ADAL" clId="{3DE7FF81-473B-4874-A889-D0073A3D9F1A}" dt="2018-10-08T17:48:17.667" v="11" actId="2696"/>
        <pc:sldMkLst>
          <pc:docMk/>
          <pc:sldMk cId="2995426134" sldId="390"/>
        </pc:sldMkLst>
      </pc:sldChg>
      <pc:sldChg chg="del">
        <pc:chgData name="BODNER Christoph" userId="0e348722-d6b4-4f3e-b89e-da69cac527be" providerId="ADAL" clId="{3DE7FF81-473B-4874-A889-D0073A3D9F1A}" dt="2018-10-08T17:48:18.288" v="30" actId="2696"/>
        <pc:sldMkLst>
          <pc:docMk/>
          <pc:sldMk cId="1390418392" sldId="393"/>
        </pc:sldMkLst>
      </pc:sldChg>
      <pc:sldChg chg="del">
        <pc:chgData name="BODNER Christoph" userId="0e348722-d6b4-4f3e-b89e-da69cac527be" providerId="ADAL" clId="{3DE7FF81-473B-4874-A889-D0073A3D9F1A}" dt="2018-10-08T17:48:17.090" v="4" actId="2696"/>
        <pc:sldMkLst>
          <pc:docMk/>
          <pc:sldMk cId="1521083678" sldId="395"/>
        </pc:sldMkLst>
      </pc:sldChg>
      <pc:sldChg chg="del">
        <pc:chgData name="BODNER Christoph" userId="0e348722-d6b4-4f3e-b89e-da69cac527be" providerId="ADAL" clId="{3DE7FF81-473B-4874-A889-D0073A3D9F1A}" dt="2018-10-08T17:48:17.801" v="13" actId="2696"/>
        <pc:sldMkLst>
          <pc:docMk/>
          <pc:sldMk cId="4156760349" sldId="402"/>
        </pc:sldMkLst>
      </pc:sldChg>
      <pc:sldChg chg="del">
        <pc:chgData name="BODNER Christoph" userId="0e348722-d6b4-4f3e-b89e-da69cac527be" providerId="ADAL" clId="{3DE7FF81-473B-4874-A889-D0073A3D9F1A}" dt="2018-10-08T17:48:17.328" v="7" actId="2696"/>
        <pc:sldMkLst>
          <pc:docMk/>
          <pc:sldMk cId="3151739090" sldId="407"/>
        </pc:sldMkLst>
      </pc:sldChg>
      <pc:sldChg chg="del">
        <pc:chgData name="BODNER Christoph" userId="0e348722-d6b4-4f3e-b89e-da69cac527be" providerId="ADAL" clId="{3DE7FF81-473B-4874-A889-D0073A3D9F1A}" dt="2018-10-08T17:48:17.754" v="12" actId="2696"/>
        <pc:sldMkLst>
          <pc:docMk/>
          <pc:sldMk cId="2883139869" sldId="418"/>
        </pc:sldMkLst>
      </pc:sldChg>
      <pc:sldChg chg="del">
        <pc:chgData name="BODNER Christoph" userId="0e348722-d6b4-4f3e-b89e-da69cac527be" providerId="ADAL" clId="{3DE7FF81-473B-4874-A889-D0073A3D9F1A}" dt="2018-10-08T17:48:17.907" v="17" actId="2696"/>
        <pc:sldMkLst>
          <pc:docMk/>
          <pc:sldMk cId="512502281" sldId="420"/>
        </pc:sldMkLst>
      </pc:sldChg>
      <pc:sldChg chg="del">
        <pc:chgData name="BODNER Christoph" userId="0e348722-d6b4-4f3e-b89e-da69cac527be" providerId="ADAL" clId="{3DE7FF81-473B-4874-A889-D0073A3D9F1A}" dt="2018-10-08T17:48:17.939" v="18" actId="2696"/>
        <pc:sldMkLst>
          <pc:docMk/>
          <pc:sldMk cId="1609505733" sldId="421"/>
        </pc:sldMkLst>
      </pc:sldChg>
      <pc:sldChg chg="del">
        <pc:chgData name="BODNER Christoph" userId="0e348722-d6b4-4f3e-b89e-da69cac527be" providerId="ADAL" clId="{3DE7FF81-473B-4874-A889-D0073A3D9F1A}" dt="2018-10-08T17:48:17.975" v="19" actId="2696"/>
        <pc:sldMkLst>
          <pc:docMk/>
          <pc:sldMk cId="1729349709" sldId="422"/>
        </pc:sldMkLst>
      </pc:sldChg>
      <pc:sldChg chg="del">
        <pc:chgData name="BODNER Christoph" userId="0e348722-d6b4-4f3e-b89e-da69cac527be" providerId="ADAL" clId="{3DE7FF81-473B-4874-A889-D0073A3D9F1A}" dt="2018-10-08T17:48:17.879" v="16" actId="2696"/>
        <pc:sldMkLst>
          <pc:docMk/>
          <pc:sldMk cId="1930164183" sldId="427"/>
        </pc:sldMkLst>
      </pc:sldChg>
      <pc:sldChg chg="del">
        <pc:chgData name="BODNER Christoph" userId="0e348722-d6b4-4f3e-b89e-da69cac527be" providerId="ADAL" clId="{3DE7FF81-473B-4874-A889-D0073A3D9F1A}" dt="2018-10-08T17:48:16.988" v="2" actId="2696"/>
        <pc:sldMkLst>
          <pc:docMk/>
          <pc:sldMk cId="2313246824" sldId="578"/>
        </pc:sldMkLst>
      </pc:sldChg>
      <pc:sldChg chg="del">
        <pc:chgData name="BODNER Christoph" userId="0e348722-d6b4-4f3e-b89e-da69cac527be" providerId="ADAL" clId="{3DE7FF81-473B-4874-A889-D0073A3D9F1A}" dt="2018-10-08T17:48:16.854" v="1" actId="2696"/>
        <pc:sldMkLst>
          <pc:docMk/>
          <pc:sldMk cId="2160947943" sldId="592"/>
        </pc:sldMkLst>
      </pc:sldChg>
      <pc:sldChg chg="del">
        <pc:chgData name="BODNER Christoph" userId="0e348722-d6b4-4f3e-b89e-da69cac527be" providerId="ADAL" clId="{3DE7FF81-473B-4874-A889-D0073A3D9F1A}" dt="2018-10-08T17:48:17.847" v="15" actId="2696"/>
        <pc:sldMkLst>
          <pc:docMk/>
          <pc:sldMk cId="2708351695" sldId="639"/>
        </pc:sldMkLst>
      </pc:sldChg>
      <pc:sldChg chg="del">
        <pc:chgData name="BODNER Christoph" userId="0e348722-d6b4-4f3e-b89e-da69cac527be" providerId="ADAL" clId="{3DE7FF81-473B-4874-A889-D0073A3D9F1A}" dt="2018-10-08T17:48:18.132" v="24" actId="2696"/>
        <pc:sldMkLst>
          <pc:docMk/>
          <pc:sldMk cId="2990686354" sldId="646"/>
        </pc:sldMkLst>
      </pc:sldChg>
      <pc:sldChg chg="del">
        <pc:chgData name="BODNER Christoph" userId="0e348722-d6b4-4f3e-b89e-da69cac527be" providerId="ADAL" clId="{3DE7FF81-473B-4874-A889-D0073A3D9F1A}" dt="2018-10-08T17:48:18.107" v="23" actId="2696"/>
        <pc:sldMkLst>
          <pc:docMk/>
          <pc:sldMk cId="2288381641" sldId="648"/>
        </pc:sldMkLst>
      </pc:sldChg>
      <pc:sldChg chg="del">
        <pc:chgData name="BODNER Christoph" userId="0e348722-d6b4-4f3e-b89e-da69cac527be" providerId="ADAL" clId="{3DE7FF81-473B-4874-A889-D0073A3D9F1A}" dt="2018-10-08T17:48:18.162" v="25" actId="2696"/>
        <pc:sldMkLst>
          <pc:docMk/>
          <pc:sldMk cId="1710527255" sldId="649"/>
        </pc:sldMkLst>
      </pc:sldChg>
      <pc:sldChg chg="del">
        <pc:chgData name="BODNER Christoph" userId="0e348722-d6b4-4f3e-b89e-da69cac527be" providerId="ADAL" clId="{3DE7FF81-473B-4874-A889-D0073A3D9F1A}" dt="2018-10-08T17:48:18.198" v="26" actId="2696"/>
        <pc:sldMkLst>
          <pc:docMk/>
          <pc:sldMk cId="2263987527" sldId="650"/>
        </pc:sldMkLst>
      </pc:sldChg>
      <pc:sldChg chg="del">
        <pc:chgData name="BODNER Christoph" userId="0e348722-d6b4-4f3e-b89e-da69cac527be" providerId="ADAL" clId="{3DE7FF81-473B-4874-A889-D0073A3D9F1A}" dt="2018-10-08T17:48:18.222" v="27" actId="2696"/>
        <pc:sldMkLst>
          <pc:docMk/>
          <pc:sldMk cId="3193172772" sldId="651"/>
        </pc:sldMkLst>
      </pc:sldChg>
      <pc:sldChg chg="del">
        <pc:chgData name="BODNER Christoph" userId="0e348722-d6b4-4f3e-b89e-da69cac527be" providerId="ADAL" clId="{3DE7FF81-473B-4874-A889-D0073A3D9F1A}" dt="2018-10-08T17:48:18.031" v="21" actId="2696"/>
        <pc:sldMkLst>
          <pc:docMk/>
          <pc:sldMk cId="2498959127" sldId="652"/>
        </pc:sldMkLst>
      </pc:sldChg>
      <pc:sldChg chg="del">
        <pc:chgData name="BODNER Christoph" userId="0e348722-d6b4-4f3e-b89e-da69cac527be" providerId="ADAL" clId="{3DE7FF81-473B-4874-A889-D0073A3D9F1A}" dt="2018-10-08T17:48:17.161" v="6" actId="2696"/>
        <pc:sldMkLst>
          <pc:docMk/>
          <pc:sldMk cId="1937421615" sldId="654"/>
        </pc:sldMkLst>
      </pc:sldChg>
      <pc:sldChg chg="del">
        <pc:chgData name="BODNER Christoph" userId="0e348722-d6b4-4f3e-b89e-da69cac527be" providerId="ADAL" clId="{3DE7FF81-473B-4874-A889-D0073A3D9F1A}" dt="2018-10-08T17:48:18.240" v="28" actId="2696"/>
        <pc:sldMkLst>
          <pc:docMk/>
          <pc:sldMk cId="4169980972" sldId="656"/>
        </pc:sldMkLst>
      </pc:sldChg>
      <pc:sldChg chg="del">
        <pc:chgData name="BODNER Christoph" userId="0e348722-d6b4-4f3e-b89e-da69cac527be" providerId="ADAL" clId="{3DE7FF81-473B-4874-A889-D0073A3D9F1A}" dt="2018-10-08T17:48:18.087" v="22" actId="2696"/>
        <pc:sldMkLst>
          <pc:docMk/>
          <pc:sldMk cId="1359586418" sldId="660"/>
        </pc:sldMkLst>
      </pc:sldChg>
      <pc:sldChg chg="del">
        <pc:chgData name="BODNER Christoph" userId="0e348722-d6b4-4f3e-b89e-da69cac527be" providerId="ADAL" clId="{3DE7FF81-473B-4874-A889-D0073A3D9F1A}" dt="2018-10-08T17:48:17.115" v="5" actId="2696"/>
        <pc:sldMkLst>
          <pc:docMk/>
          <pc:sldMk cId="2777236840" sldId="661"/>
        </pc:sldMkLst>
      </pc:sldChg>
      <pc:sldChg chg="del">
        <pc:chgData name="BODNER Christoph" userId="0e348722-d6b4-4f3e-b89e-da69cac527be" providerId="ADAL" clId="{3DE7FF81-473B-4874-A889-D0073A3D9F1A}" dt="2018-10-08T17:48:16.796" v="0" actId="2696"/>
        <pc:sldMkLst>
          <pc:docMk/>
          <pc:sldMk cId="2704774138" sldId="662"/>
        </pc:sldMkLst>
      </pc:sldChg>
      <pc:sldChg chg="del">
        <pc:chgData name="BODNER Christoph" userId="0e348722-d6b4-4f3e-b89e-da69cac527be" providerId="ADAL" clId="{3DE7FF81-473B-4874-A889-D0073A3D9F1A}" dt="2018-10-08T17:48:18.269" v="29" actId="2696"/>
        <pc:sldMkLst>
          <pc:docMk/>
          <pc:sldMk cId="4104995411" sldId="663"/>
        </pc:sldMkLst>
      </pc:sldChg>
      <pc:sldChg chg="del">
        <pc:chgData name="BODNER Christoph" userId="0e348722-d6b4-4f3e-b89e-da69cac527be" providerId="ADAL" clId="{3DE7FF81-473B-4874-A889-D0073A3D9F1A}" dt="2018-10-08T17:48:17.997" v="20" actId="2696"/>
        <pc:sldMkLst>
          <pc:docMk/>
          <pc:sldMk cId="1532719057" sldId="667"/>
        </pc:sldMkLst>
      </pc:sldChg>
      <pc:sldMasterChg chg="delSldLayout">
        <pc:chgData name="BODNER Christoph" userId="0e348722-d6b4-4f3e-b89e-da69cac527be" providerId="ADAL" clId="{3DE7FF81-473B-4874-A889-D0073A3D9F1A}" dt="2018-10-08T17:48:17.017" v="3" actId="2696"/>
        <pc:sldMasterMkLst>
          <pc:docMk/>
          <pc:sldMasterMk cId="3096639505" sldId="2147483648"/>
        </pc:sldMasterMkLst>
        <pc:sldLayoutChg chg="del">
          <pc:chgData name="BODNER Christoph" userId="0e348722-d6b4-4f3e-b89e-da69cac527be" providerId="ADAL" clId="{3DE7FF81-473B-4874-A889-D0073A3D9F1A}" dt="2018-10-08T17:48:17.017" v="3" actId="2696"/>
          <pc:sldLayoutMkLst>
            <pc:docMk/>
            <pc:sldMasterMk cId="3096639505" sldId="2147483648"/>
            <pc:sldLayoutMk cId="3639227453" sldId="2147483706"/>
          </pc:sldLayoutMkLst>
        </pc:sldLayoutChg>
      </pc:sldMasterChg>
    </pc:docChg>
  </pc:docChgLst>
  <pc:docChgLst>
    <pc:chgData name="BODNER Christoph" userId="0e348722-d6b4-4f3e-b89e-da69cac527be" providerId="ADAL" clId="{8CBD7C6F-09A6-420D-843B-EE128337AEDA}"/>
    <pc:docChg chg="undo custSel addSld delSld modSld sldOrd modMainMaster modSection">
      <pc:chgData name="BODNER Christoph" userId="0e348722-d6b4-4f3e-b89e-da69cac527be" providerId="ADAL" clId="{8CBD7C6F-09A6-420D-843B-EE128337AEDA}" dt="2018-10-09T15:06:09.781" v="7611"/>
      <pc:docMkLst>
        <pc:docMk/>
      </pc:docMkLst>
      <pc:sldChg chg="del">
        <pc:chgData name="BODNER Christoph" userId="0e348722-d6b4-4f3e-b89e-da69cac527be" providerId="ADAL" clId="{8CBD7C6F-09A6-420D-843B-EE128337AEDA}" dt="2018-10-08T18:47:41.657" v="2134" actId="2696"/>
        <pc:sldMkLst>
          <pc:docMk/>
          <pc:sldMk cId="497870935" sldId="362"/>
        </pc:sldMkLst>
      </pc:sldChg>
      <pc:sldChg chg="modSp">
        <pc:chgData name="BODNER Christoph" userId="0e348722-d6b4-4f3e-b89e-da69cac527be" providerId="ADAL" clId="{8CBD7C6F-09A6-420D-843B-EE128337AEDA}" dt="2018-10-08T18:47:16.486" v="2132" actId="20577"/>
        <pc:sldMkLst>
          <pc:docMk/>
          <pc:sldMk cId="2926659169" sldId="371"/>
        </pc:sldMkLst>
        <pc:spChg chg="mod">
          <ac:chgData name="BODNER Christoph" userId="0e348722-d6b4-4f3e-b89e-da69cac527be" providerId="ADAL" clId="{8CBD7C6F-09A6-420D-843B-EE128337AEDA}" dt="2018-10-08T17:59:42.109" v="702" actId="20577"/>
          <ac:spMkLst>
            <pc:docMk/>
            <pc:sldMk cId="2926659169" sldId="371"/>
            <ac:spMk id="7" creationId="{F445735D-7191-4B22-BE7F-D985BC29FBDE}"/>
          </ac:spMkLst>
        </pc:spChg>
        <pc:spChg chg="mod">
          <ac:chgData name="BODNER Christoph" userId="0e348722-d6b4-4f3e-b89e-da69cac527be" providerId="ADAL" clId="{8CBD7C6F-09A6-420D-843B-EE128337AEDA}" dt="2018-10-08T18:47:16.486" v="2132" actId="20577"/>
          <ac:spMkLst>
            <pc:docMk/>
            <pc:sldMk cId="2926659169" sldId="371"/>
            <ac:spMk id="8" creationId="{60A2BFF3-23A1-43BD-AA55-80F434A4C9E9}"/>
          </ac:spMkLst>
        </pc:spChg>
      </pc:sldChg>
      <pc:sldChg chg="addSp delSp modSp add del setBg">
        <pc:chgData name="BODNER Christoph" userId="0e348722-d6b4-4f3e-b89e-da69cac527be" providerId="ADAL" clId="{8CBD7C6F-09A6-420D-843B-EE128337AEDA}" dt="2018-10-08T18:54:48.645" v="2295" actId="2696"/>
        <pc:sldMkLst>
          <pc:docMk/>
          <pc:sldMk cId="2398169609" sldId="386"/>
        </pc:sldMkLst>
        <pc:spChg chg="add mod">
          <ac:chgData name="BODNER Christoph" userId="0e348722-d6b4-4f3e-b89e-da69cac527be" providerId="ADAL" clId="{8CBD7C6F-09A6-420D-843B-EE128337AEDA}" dt="2018-10-08T18:54:34.257" v="2293"/>
          <ac:spMkLst>
            <pc:docMk/>
            <pc:sldMk cId="2398169609" sldId="386"/>
            <ac:spMk id="2" creationId="{D8909E5F-4EEB-45A7-8CBE-DC28F91A83C8}"/>
          </ac:spMkLst>
        </pc:spChg>
        <pc:spChg chg="add del mod">
          <ac:chgData name="BODNER Christoph" userId="0e348722-d6b4-4f3e-b89e-da69cac527be" providerId="ADAL" clId="{8CBD7C6F-09A6-420D-843B-EE128337AEDA}" dt="2018-10-08T18:54:37.727" v="2294" actId="478"/>
          <ac:spMkLst>
            <pc:docMk/>
            <pc:sldMk cId="2398169609" sldId="386"/>
            <ac:spMk id="5" creationId="{51CFD8BA-A379-41B4-B5DB-A4E6DE4D27B3}"/>
          </ac:spMkLst>
        </pc:spChg>
        <pc:spChg chg="del">
          <ac:chgData name="BODNER Christoph" userId="0e348722-d6b4-4f3e-b89e-da69cac527be" providerId="ADAL" clId="{8CBD7C6F-09A6-420D-843B-EE128337AEDA}" dt="2018-10-08T18:54:34.257" v="2293"/>
          <ac:spMkLst>
            <pc:docMk/>
            <pc:sldMk cId="2398169609" sldId="386"/>
            <ac:spMk id="8" creationId="{00000000-0000-0000-0000-000000000000}"/>
          </ac:spMkLst>
        </pc:spChg>
      </pc:sldChg>
      <pc:sldChg chg="add">
        <pc:chgData name="BODNER Christoph" userId="0e348722-d6b4-4f3e-b89e-da69cac527be" providerId="ADAL" clId="{8CBD7C6F-09A6-420D-843B-EE128337AEDA}" dt="2018-10-08T18:01:41.005" v="703"/>
        <pc:sldMkLst>
          <pc:docMk/>
          <pc:sldMk cId="1521083678" sldId="395"/>
        </pc:sldMkLst>
      </pc:sldChg>
      <pc:sldChg chg="addSp modSp del">
        <pc:chgData name="BODNER Christoph" userId="0e348722-d6b4-4f3e-b89e-da69cac527be" providerId="ADAL" clId="{8CBD7C6F-09A6-420D-843B-EE128337AEDA}" dt="2018-10-09T07:22:17.533" v="7399" actId="2696"/>
        <pc:sldMkLst>
          <pc:docMk/>
          <pc:sldMk cId="660280520" sldId="436"/>
        </pc:sldMkLst>
        <pc:spChg chg="mod">
          <ac:chgData name="BODNER Christoph" userId="0e348722-d6b4-4f3e-b89e-da69cac527be" providerId="ADAL" clId="{8CBD7C6F-09A6-420D-843B-EE128337AEDA}" dt="2018-10-08T17:54:15.814" v="110" actId="164"/>
          <ac:spMkLst>
            <pc:docMk/>
            <pc:sldMk cId="660280520" sldId="436"/>
            <ac:spMk id="11" creationId="{F0F53795-8436-4E51-B822-D82DFED5D179}"/>
          </ac:spMkLst>
        </pc:spChg>
        <pc:spChg chg="mod">
          <ac:chgData name="BODNER Christoph" userId="0e348722-d6b4-4f3e-b89e-da69cac527be" providerId="ADAL" clId="{8CBD7C6F-09A6-420D-843B-EE128337AEDA}" dt="2018-10-08T17:54:20.720" v="111" actId="164"/>
          <ac:spMkLst>
            <pc:docMk/>
            <pc:sldMk cId="660280520" sldId="436"/>
            <ac:spMk id="12" creationId="{53720DA6-7426-4B7C-A8CC-744E1C954841}"/>
          </ac:spMkLst>
        </pc:spChg>
        <pc:spChg chg="mod">
          <ac:chgData name="BODNER Christoph" userId="0e348722-d6b4-4f3e-b89e-da69cac527be" providerId="ADAL" clId="{8CBD7C6F-09A6-420D-843B-EE128337AEDA}" dt="2018-10-08T17:54:32.547" v="114" actId="164"/>
          <ac:spMkLst>
            <pc:docMk/>
            <pc:sldMk cId="660280520" sldId="436"/>
            <ac:spMk id="13" creationId="{AF883563-83DD-4C41-8C7D-6E67FDA079AF}"/>
          </ac:spMkLst>
        </pc:spChg>
        <pc:spChg chg="mod">
          <ac:chgData name="BODNER Christoph" userId="0e348722-d6b4-4f3e-b89e-da69cac527be" providerId="ADAL" clId="{8CBD7C6F-09A6-420D-843B-EE128337AEDA}" dt="2018-10-08T17:55:23.172" v="130" actId="20577"/>
          <ac:spMkLst>
            <pc:docMk/>
            <pc:sldMk cId="660280520" sldId="436"/>
            <ac:spMk id="15" creationId="{A2597B59-C60C-43B1-9736-D5197BB463E1}"/>
          </ac:spMkLst>
        </pc:spChg>
        <pc:spChg chg="mod">
          <ac:chgData name="BODNER Christoph" userId="0e348722-d6b4-4f3e-b89e-da69cac527be" providerId="ADAL" clId="{8CBD7C6F-09A6-420D-843B-EE128337AEDA}" dt="2018-10-08T18:07:01.698" v="746"/>
          <ac:spMkLst>
            <pc:docMk/>
            <pc:sldMk cId="660280520" sldId="436"/>
            <ac:spMk id="16" creationId="{0C4DA709-D232-4644-BA3C-AC42ECEB8963}"/>
          </ac:spMkLst>
        </pc:spChg>
        <pc:spChg chg="mod">
          <ac:chgData name="BODNER Christoph" userId="0e348722-d6b4-4f3e-b89e-da69cac527be" providerId="ADAL" clId="{8CBD7C6F-09A6-420D-843B-EE128337AEDA}" dt="2018-10-08T18:06:35.404" v="744"/>
          <ac:spMkLst>
            <pc:docMk/>
            <pc:sldMk cId="660280520" sldId="436"/>
            <ac:spMk id="17" creationId="{23B41AE1-DD64-41F1-AD99-A8AF0C33A4A1}"/>
          </ac:spMkLst>
        </pc:spChg>
        <pc:grpChg chg="add mod">
          <ac:chgData name="BODNER Christoph" userId="0e348722-d6b4-4f3e-b89e-da69cac527be" providerId="ADAL" clId="{8CBD7C6F-09A6-420D-843B-EE128337AEDA}" dt="2018-10-08T17:54:42.709" v="115" actId="408"/>
          <ac:grpSpMkLst>
            <pc:docMk/>
            <pc:sldMk cId="660280520" sldId="436"/>
            <ac:grpSpMk id="2" creationId="{6A5F031C-81D7-4D6B-AA36-15755B6842B5}"/>
          </ac:grpSpMkLst>
        </pc:grpChg>
        <pc:grpChg chg="add mod">
          <ac:chgData name="BODNER Christoph" userId="0e348722-d6b4-4f3e-b89e-da69cac527be" providerId="ADAL" clId="{8CBD7C6F-09A6-420D-843B-EE128337AEDA}" dt="2018-10-08T17:55:35.905" v="140"/>
          <ac:grpSpMkLst>
            <pc:docMk/>
            <pc:sldMk cId="660280520" sldId="436"/>
            <ac:grpSpMk id="3" creationId="{2AE37307-EFA0-49CD-9F68-71C67974A913}"/>
          </ac:grpSpMkLst>
        </pc:grpChg>
        <pc:grpChg chg="add mod">
          <ac:chgData name="BODNER Christoph" userId="0e348722-d6b4-4f3e-b89e-da69cac527be" providerId="ADAL" clId="{8CBD7C6F-09A6-420D-843B-EE128337AEDA}" dt="2018-10-08T17:54:26.323" v="113" actId="164"/>
          <ac:grpSpMkLst>
            <pc:docMk/>
            <pc:sldMk cId="660280520" sldId="436"/>
            <ac:grpSpMk id="4" creationId="{238B7861-5408-4F3D-9A6C-03E5764D026C}"/>
          </ac:grpSpMkLst>
        </pc:grpChg>
        <pc:grpChg chg="add mod">
          <ac:chgData name="BODNER Christoph" userId="0e348722-d6b4-4f3e-b89e-da69cac527be" providerId="ADAL" clId="{8CBD7C6F-09A6-420D-843B-EE128337AEDA}" dt="2018-10-08T17:58:10.498" v="541"/>
          <ac:grpSpMkLst>
            <pc:docMk/>
            <pc:sldMk cId="660280520" sldId="436"/>
            <ac:grpSpMk id="5" creationId="{FB2BDE9B-A969-4325-9062-F27B3F679DE3}"/>
          </ac:grpSpMkLst>
        </pc:grpChg>
      </pc:sldChg>
      <pc:sldChg chg="addSp delSp modSp add delAnim modAnim">
        <pc:chgData name="BODNER Christoph" userId="0e348722-d6b4-4f3e-b89e-da69cac527be" providerId="ADAL" clId="{8CBD7C6F-09A6-420D-843B-EE128337AEDA}" dt="2018-10-09T15:06:09.781" v="7611"/>
        <pc:sldMkLst>
          <pc:docMk/>
          <pc:sldMk cId="2313246824" sldId="578"/>
        </pc:sldMkLst>
        <pc:spChg chg="del">
          <ac:chgData name="BODNER Christoph" userId="0e348722-d6b4-4f3e-b89e-da69cac527be" providerId="ADAL" clId="{8CBD7C6F-09A6-420D-843B-EE128337AEDA}" dt="2018-10-09T07:24:08.263" v="7497" actId="478"/>
          <ac:spMkLst>
            <pc:docMk/>
            <pc:sldMk cId="2313246824" sldId="578"/>
            <ac:spMk id="3" creationId="{6EE1DE61-A5C5-4646-9F16-6CE66B20E3EA}"/>
          </ac:spMkLst>
        </pc:spChg>
        <pc:spChg chg="add del mod">
          <ac:chgData name="BODNER Christoph" userId="0e348722-d6b4-4f3e-b89e-da69cac527be" providerId="ADAL" clId="{8CBD7C6F-09A6-420D-843B-EE128337AEDA}" dt="2018-10-09T07:23:15.388" v="7404" actId="478"/>
          <ac:spMkLst>
            <pc:docMk/>
            <pc:sldMk cId="2313246824" sldId="578"/>
            <ac:spMk id="75" creationId="{4C658966-1A61-4D73-907C-9C6566AB1C59}"/>
          </ac:spMkLst>
        </pc:spChg>
        <pc:spChg chg="del mod">
          <ac:chgData name="BODNER Christoph" userId="0e348722-d6b4-4f3e-b89e-da69cac527be" providerId="ADAL" clId="{8CBD7C6F-09A6-420D-843B-EE128337AEDA}" dt="2018-10-09T07:24:13.023" v="7498" actId="478"/>
          <ac:spMkLst>
            <pc:docMk/>
            <pc:sldMk cId="2313246824" sldId="578"/>
            <ac:spMk id="77" creationId="{1BE90877-3CCE-4407-8F0D-C1C006BC4850}"/>
          </ac:spMkLst>
        </pc:spChg>
        <pc:spChg chg="mod">
          <ac:chgData name="BODNER Christoph" userId="0e348722-d6b4-4f3e-b89e-da69cac527be" providerId="ADAL" clId="{8CBD7C6F-09A6-420D-843B-EE128337AEDA}" dt="2018-10-09T07:23:59.792" v="7496" actId="20577"/>
          <ac:spMkLst>
            <pc:docMk/>
            <pc:sldMk cId="2313246824" sldId="578"/>
            <ac:spMk id="78" creationId="{4AF5F271-B289-4610-BF82-293C97EFAEA1}"/>
          </ac:spMkLst>
        </pc:spChg>
        <pc:spChg chg="add mod ord">
          <ac:chgData name="BODNER Christoph" userId="0e348722-d6b4-4f3e-b89e-da69cac527be" providerId="ADAL" clId="{8CBD7C6F-09A6-420D-843B-EE128337AEDA}" dt="2018-10-09T15:05:38.363" v="7608" actId="166"/>
          <ac:spMkLst>
            <pc:docMk/>
            <pc:sldMk cId="2313246824" sldId="578"/>
            <ac:spMk id="83" creationId="{29DC74D5-F2F7-459A-8D48-48EB554D643B}"/>
          </ac:spMkLst>
        </pc:spChg>
        <pc:spChg chg="add mod">
          <ac:chgData name="BODNER Christoph" userId="0e348722-d6b4-4f3e-b89e-da69cac527be" providerId="ADAL" clId="{8CBD7C6F-09A6-420D-843B-EE128337AEDA}" dt="2018-10-09T07:24:26.811" v="7503" actId="14100"/>
          <ac:spMkLst>
            <pc:docMk/>
            <pc:sldMk cId="2313246824" sldId="578"/>
            <ac:spMk id="84" creationId="{F2BD01D3-8B29-492F-948D-04A33C5FAB13}"/>
          </ac:spMkLst>
        </pc:spChg>
        <pc:grpChg chg="del">
          <ac:chgData name="BODNER Christoph" userId="0e348722-d6b4-4f3e-b89e-da69cac527be" providerId="ADAL" clId="{8CBD7C6F-09A6-420D-843B-EE128337AEDA}" dt="2018-10-09T07:23:06.710" v="7401" actId="478"/>
          <ac:grpSpMkLst>
            <pc:docMk/>
            <pc:sldMk cId="2313246824" sldId="578"/>
            <ac:grpSpMk id="13" creationId="{89B2B590-A6EC-41F4-B499-E0BDA3490FE0}"/>
          </ac:grpSpMkLst>
        </pc:grpChg>
        <pc:picChg chg="add del mod">
          <ac:chgData name="BODNER Christoph" userId="0e348722-d6b4-4f3e-b89e-da69cac527be" providerId="ADAL" clId="{8CBD7C6F-09A6-420D-843B-EE128337AEDA}" dt="2018-10-09T15:06:09.781" v="7611"/>
          <ac:picMkLst>
            <pc:docMk/>
            <pc:sldMk cId="2313246824" sldId="578"/>
            <ac:picMk id="4" creationId="{503E8702-9BBC-451B-970C-E8395E03937A}"/>
          </ac:picMkLst>
        </pc:picChg>
        <pc:picChg chg="add mod">
          <ac:chgData name="BODNER Christoph" userId="0e348722-d6b4-4f3e-b89e-da69cac527be" providerId="ADAL" clId="{8CBD7C6F-09A6-420D-843B-EE128337AEDA}" dt="2018-10-09T07:25:59.060" v="7527" actId="962"/>
          <ac:picMkLst>
            <pc:docMk/>
            <pc:sldMk cId="2313246824" sldId="578"/>
            <ac:picMk id="5" creationId="{85C77730-C59E-45DE-8A33-E0631131F152}"/>
          </ac:picMkLst>
        </pc:picChg>
      </pc:sldChg>
      <pc:sldChg chg="modSp add">
        <pc:chgData name="BODNER Christoph" userId="0e348722-d6b4-4f3e-b89e-da69cac527be" providerId="ADAL" clId="{8CBD7C6F-09A6-420D-843B-EE128337AEDA}" dt="2018-10-08T18:58:01.325" v="2345" actId="108"/>
        <pc:sldMkLst>
          <pc:docMk/>
          <pc:sldMk cId="2160947943" sldId="592"/>
        </pc:sldMkLst>
        <pc:spChg chg="mod">
          <ac:chgData name="BODNER Christoph" userId="0e348722-d6b4-4f3e-b89e-da69cac527be" providerId="ADAL" clId="{8CBD7C6F-09A6-420D-843B-EE128337AEDA}" dt="2018-10-08T18:58:01.325" v="2345" actId="108"/>
          <ac:spMkLst>
            <pc:docMk/>
            <pc:sldMk cId="2160947943" sldId="592"/>
            <ac:spMk id="50" creationId="{3670DB28-480B-4A8E-B8D5-A0E2438401C1}"/>
          </ac:spMkLst>
        </pc:spChg>
      </pc:sldChg>
      <pc:sldChg chg="modSp add">
        <pc:chgData name="BODNER Christoph" userId="0e348722-d6b4-4f3e-b89e-da69cac527be" providerId="ADAL" clId="{8CBD7C6F-09A6-420D-843B-EE128337AEDA}" dt="2018-10-08T18:07:01.698" v="746"/>
        <pc:sldMkLst>
          <pc:docMk/>
          <pc:sldMk cId="247060827" sldId="593"/>
        </pc:sldMkLst>
        <pc:spChg chg="mod">
          <ac:chgData name="BODNER Christoph" userId="0e348722-d6b4-4f3e-b89e-da69cac527be" providerId="ADAL" clId="{8CBD7C6F-09A6-420D-843B-EE128337AEDA}" dt="2018-10-08T18:02:26.730" v="706" actId="207"/>
          <ac:spMkLst>
            <pc:docMk/>
            <pc:sldMk cId="247060827" sldId="593"/>
            <ac:spMk id="13" creationId="{AF883563-83DD-4C41-8C7D-6E67FDA079AF}"/>
          </ac:spMkLst>
        </pc:spChg>
        <pc:spChg chg="mod">
          <ac:chgData name="BODNER Christoph" userId="0e348722-d6b4-4f3e-b89e-da69cac527be" providerId="ADAL" clId="{8CBD7C6F-09A6-420D-843B-EE128337AEDA}" dt="2018-10-08T18:07:01.698" v="746"/>
          <ac:spMkLst>
            <pc:docMk/>
            <pc:sldMk cId="247060827" sldId="593"/>
            <ac:spMk id="16" creationId="{0C4DA709-D232-4644-BA3C-AC42ECEB8963}"/>
          </ac:spMkLst>
        </pc:spChg>
        <pc:spChg chg="mod">
          <ac:chgData name="BODNER Christoph" userId="0e348722-d6b4-4f3e-b89e-da69cac527be" providerId="ADAL" clId="{8CBD7C6F-09A6-420D-843B-EE128337AEDA}" dt="2018-10-08T18:06:35.404" v="744"/>
          <ac:spMkLst>
            <pc:docMk/>
            <pc:sldMk cId="247060827" sldId="593"/>
            <ac:spMk id="17" creationId="{23B41AE1-DD64-41F1-AD99-A8AF0C33A4A1}"/>
          </ac:spMkLst>
        </pc:spChg>
        <pc:grpChg chg="mod">
          <ac:chgData name="BODNER Christoph" userId="0e348722-d6b4-4f3e-b89e-da69cac527be" providerId="ADAL" clId="{8CBD7C6F-09A6-420D-843B-EE128337AEDA}" dt="2018-10-08T18:02:23.571" v="705" actId="207"/>
          <ac:grpSpMkLst>
            <pc:docMk/>
            <pc:sldMk cId="247060827" sldId="593"/>
            <ac:grpSpMk id="3" creationId="{2AE37307-EFA0-49CD-9F68-71C67974A913}"/>
          </ac:grpSpMkLst>
        </pc:grpChg>
        <pc:grpChg chg="mod">
          <ac:chgData name="BODNER Christoph" userId="0e348722-d6b4-4f3e-b89e-da69cac527be" providerId="ADAL" clId="{8CBD7C6F-09A6-420D-843B-EE128337AEDA}" dt="2018-10-08T18:02:30.151" v="707" actId="207"/>
          <ac:grpSpMkLst>
            <pc:docMk/>
            <pc:sldMk cId="247060827" sldId="593"/>
            <ac:grpSpMk id="5" creationId="{FB2BDE9B-A969-4325-9062-F27B3F679DE3}"/>
          </ac:grpSpMkLst>
        </pc:grpChg>
      </pc:sldChg>
      <pc:sldChg chg="modSp add">
        <pc:chgData name="BODNER Christoph" userId="0e348722-d6b4-4f3e-b89e-da69cac527be" providerId="ADAL" clId="{8CBD7C6F-09A6-420D-843B-EE128337AEDA}" dt="2018-10-08T19:21:06.040" v="3076" actId="1076"/>
        <pc:sldMkLst>
          <pc:docMk/>
          <pc:sldMk cId="1736533978" sldId="594"/>
        </pc:sldMkLst>
        <pc:spChg chg="mod">
          <ac:chgData name="BODNER Christoph" userId="0e348722-d6b4-4f3e-b89e-da69cac527be" providerId="ADAL" clId="{8CBD7C6F-09A6-420D-843B-EE128337AEDA}" dt="2018-10-08T19:21:06.040" v="3076" actId="1076"/>
          <ac:spMkLst>
            <pc:docMk/>
            <pc:sldMk cId="1736533978" sldId="594"/>
            <ac:spMk id="14" creationId="{0AE1A312-3717-4DA0-BC71-4894852EDF06}"/>
          </ac:spMkLst>
        </pc:spChg>
        <pc:spChg chg="mod">
          <ac:chgData name="BODNER Christoph" userId="0e348722-d6b4-4f3e-b89e-da69cac527be" providerId="ADAL" clId="{8CBD7C6F-09A6-420D-843B-EE128337AEDA}" dt="2018-10-08T18:29:27.358" v="835" actId="20577"/>
          <ac:spMkLst>
            <pc:docMk/>
            <pc:sldMk cId="1736533978" sldId="594"/>
            <ac:spMk id="16" creationId="{0C4DA709-D232-4644-BA3C-AC42ECEB8963}"/>
          </ac:spMkLst>
        </pc:spChg>
        <pc:spChg chg="mod">
          <ac:chgData name="BODNER Christoph" userId="0e348722-d6b4-4f3e-b89e-da69cac527be" providerId="ADAL" clId="{8CBD7C6F-09A6-420D-843B-EE128337AEDA}" dt="2018-10-08T18:06:35.404" v="744"/>
          <ac:spMkLst>
            <pc:docMk/>
            <pc:sldMk cId="1736533978" sldId="594"/>
            <ac:spMk id="17" creationId="{23B41AE1-DD64-41F1-AD99-A8AF0C33A4A1}"/>
          </ac:spMkLst>
        </pc:spChg>
        <pc:grpChg chg="mod">
          <ac:chgData name="BODNER Christoph" userId="0e348722-d6b4-4f3e-b89e-da69cac527be" providerId="ADAL" clId="{8CBD7C6F-09A6-420D-843B-EE128337AEDA}" dt="2018-10-08T18:03:55.748" v="709" actId="207"/>
          <ac:grpSpMkLst>
            <pc:docMk/>
            <pc:sldMk cId="1736533978" sldId="594"/>
            <ac:grpSpMk id="2" creationId="{6A5F031C-81D7-4D6B-AA36-15755B6842B5}"/>
          </ac:grpSpMkLst>
        </pc:grpChg>
        <pc:grpChg chg="mod">
          <ac:chgData name="BODNER Christoph" userId="0e348722-d6b4-4f3e-b89e-da69cac527be" providerId="ADAL" clId="{8CBD7C6F-09A6-420D-843B-EE128337AEDA}" dt="2018-10-08T18:04:00.027" v="710" actId="207"/>
          <ac:grpSpMkLst>
            <pc:docMk/>
            <pc:sldMk cId="1736533978" sldId="594"/>
            <ac:grpSpMk id="3" creationId="{2AE37307-EFA0-49CD-9F68-71C67974A913}"/>
          </ac:grpSpMkLst>
        </pc:grpChg>
      </pc:sldChg>
      <pc:sldChg chg="addSp delSp modSp add">
        <pc:chgData name="BODNER Christoph" userId="0e348722-d6b4-4f3e-b89e-da69cac527be" providerId="ADAL" clId="{8CBD7C6F-09A6-420D-843B-EE128337AEDA}" dt="2018-10-09T14:53:17.466" v="7577" actId="14100"/>
        <pc:sldMkLst>
          <pc:docMk/>
          <pc:sldMk cId="1988039427" sldId="595"/>
        </pc:sldMkLst>
        <pc:spChg chg="add mod">
          <ac:chgData name="BODNER Christoph" userId="0e348722-d6b4-4f3e-b89e-da69cac527be" providerId="ADAL" clId="{8CBD7C6F-09A6-420D-843B-EE128337AEDA}" dt="2018-10-09T05:44:25.720" v="4523" actId="164"/>
          <ac:spMkLst>
            <pc:docMk/>
            <pc:sldMk cId="1988039427" sldId="595"/>
            <ac:spMk id="5" creationId="{F99949B9-2525-4F09-91C4-C9C784A6125A}"/>
          </ac:spMkLst>
        </pc:spChg>
        <pc:spChg chg="add mod">
          <ac:chgData name="BODNER Christoph" userId="0e348722-d6b4-4f3e-b89e-da69cac527be" providerId="ADAL" clId="{8CBD7C6F-09A6-420D-843B-EE128337AEDA}" dt="2018-10-09T05:59:58.511" v="5069" actId="790"/>
          <ac:spMkLst>
            <pc:docMk/>
            <pc:sldMk cId="1988039427" sldId="595"/>
            <ac:spMk id="9" creationId="{DCCB9831-B4A0-492C-819B-A893AF274B87}"/>
          </ac:spMkLst>
        </pc:spChg>
        <pc:spChg chg="mod">
          <ac:chgData name="BODNER Christoph" userId="0e348722-d6b4-4f3e-b89e-da69cac527be" providerId="ADAL" clId="{8CBD7C6F-09A6-420D-843B-EE128337AEDA}" dt="2018-10-08T18:07:01.698" v="746"/>
          <ac:spMkLst>
            <pc:docMk/>
            <pc:sldMk cId="1988039427" sldId="595"/>
            <ac:spMk id="19" creationId="{ADC50D8E-9507-4319-9DB1-041128CAC99D}"/>
          </ac:spMkLst>
        </pc:spChg>
        <pc:spChg chg="add del mod">
          <ac:chgData name="BODNER Christoph" userId="0e348722-d6b4-4f3e-b89e-da69cac527be" providerId="ADAL" clId="{8CBD7C6F-09A6-420D-843B-EE128337AEDA}" dt="2018-10-09T05:55:52.395" v="5028" actId="478"/>
          <ac:spMkLst>
            <pc:docMk/>
            <pc:sldMk cId="1988039427" sldId="595"/>
            <ac:spMk id="27" creationId="{827BFD65-77F3-4A04-95CE-3D5C75A163A5}"/>
          </ac:spMkLst>
        </pc:spChg>
        <pc:spChg chg="mod">
          <ac:chgData name="BODNER Christoph" userId="0e348722-d6b4-4f3e-b89e-da69cac527be" providerId="ADAL" clId="{8CBD7C6F-09A6-420D-843B-EE128337AEDA}" dt="2018-10-08T18:29:13.436" v="829" actId="20577"/>
          <ac:spMkLst>
            <pc:docMk/>
            <pc:sldMk cId="1988039427" sldId="595"/>
            <ac:spMk id="30" creationId="{64B1802F-7242-48B9-959C-BF6DC1BEB06F}"/>
          </ac:spMkLst>
        </pc:spChg>
        <pc:spChg chg="mod">
          <ac:chgData name="BODNER Christoph" userId="0e348722-d6b4-4f3e-b89e-da69cac527be" providerId="ADAL" clId="{8CBD7C6F-09A6-420D-843B-EE128337AEDA}" dt="2018-10-09T05:44:48.389" v="4533" actId="20577"/>
          <ac:spMkLst>
            <pc:docMk/>
            <pc:sldMk cId="1988039427" sldId="595"/>
            <ac:spMk id="36" creationId="{E1C2C09C-0FA1-4EC7-8C3B-BB886608F65A}"/>
          </ac:spMkLst>
        </pc:spChg>
        <pc:spChg chg="add mod">
          <ac:chgData name="BODNER Christoph" userId="0e348722-d6b4-4f3e-b89e-da69cac527be" providerId="ADAL" clId="{8CBD7C6F-09A6-420D-843B-EE128337AEDA}" dt="2018-10-09T05:59:58.511" v="5069" actId="790"/>
          <ac:spMkLst>
            <pc:docMk/>
            <pc:sldMk cId="1988039427" sldId="595"/>
            <ac:spMk id="42" creationId="{0650A8B5-617D-4EDF-AE19-F47B6A8F184D}"/>
          </ac:spMkLst>
        </pc:spChg>
        <pc:spChg chg="mod">
          <ac:chgData name="BODNER Christoph" userId="0e348722-d6b4-4f3e-b89e-da69cac527be" providerId="ADAL" clId="{8CBD7C6F-09A6-420D-843B-EE128337AEDA}" dt="2018-10-09T06:00:01.115" v="5070" actId="790"/>
          <ac:spMkLst>
            <pc:docMk/>
            <pc:sldMk cId="1988039427" sldId="595"/>
            <ac:spMk id="47" creationId="{F4E5CE9F-96ED-4253-864D-66472138A138}"/>
          </ac:spMkLst>
        </pc:spChg>
        <pc:spChg chg="mod">
          <ac:chgData name="BODNER Christoph" userId="0e348722-d6b4-4f3e-b89e-da69cac527be" providerId="ADAL" clId="{8CBD7C6F-09A6-420D-843B-EE128337AEDA}" dt="2018-10-09T06:00:01.115" v="5070" actId="790"/>
          <ac:spMkLst>
            <pc:docMk/>
            <pc:sldMk cId="1988039427" sldId="595"/>
            <ac:spMk id="48" creationId="{8D77D2CF-5BCE-4DA5-B37F-2D121A000F72}"/>
          </ac:spMkLst>
        </pc:spChg>
        <pc:spChg chg="mod">
          <ac:chgData name="BODNER Christoph" userId="0e348722-d6b4-4f3e-b89e-da69cac527be" providerId="ADAL" clId="{8CBD7C6F-09A6-420D-843B-EE128337AEDA}" dt="2018-10-09T06:00:03.748" v="5071" actId="790"/>
          <ac:spMkLst>
            <pc:docMk/>
            <pc:sldMk cId="1988039427" sldId="595"/>
            <ac:spMk id="51" creationId="{B0837143-58BB-4FC2-8617-2F88C9AFC8CF}"/>
          </ac:spMkLst>
        </pc:spChg>
        <pc:spChg chg="mod">
          <ac:chgData name="BODNER Christoph" userId="0e348722-d6b4-4f3e-b89e-da69cac527be" providerId="ADAL" clId="{8CBD7C6F-09A6-420D-843B-EE128337AEDA}" dt="2018-10-09T06:00:03.748" v="5071" actId="790"/>
          <ac:spMkLst>
            <pc:docMk/>
            <pc:sldMk cId="1988039427" sldId="595"/>
            <ac:spMk id="52" creationId="{F61BA4B8-59F3-45CA-8D8F-A6CEB60FA308}"/>
          </ac:spMkLst>
        </pc:spChg>
        <pc:spChg chg="mod">
          <ac:chgData name="BODNER Christoph" userId="0e348722-d6b4-4f3e-b89e-da69cac527be" providerId="ADAL" clId="{8CBD7C6F-09A6-420D-843B-EE128337AEDA}" dt="2018-10-09T06:00:05.079" v="5072" actId="790"/>
          <ac:spMkLst>
            <pc:docMk/>
            <pc:sldMk cId="1988039427" sldId="595"/>
            <ac:spMk id="54" creationId="{FDAFC1B6-B3EC-4CD7-9496-514123D04DEE}"/>
          </ac:spMkLst>
        </pc:spChg>
        <pc:spChg chg="mod">
          <ac:chgData name="BODNER Christoph" userId="0e348722-d6b4-4f3e-b89e-da69cac527be" providerId="ADAL" clId="{8CBD7C6F-09A6-420D-843B-EE128337AEDA}" dt="2018-10-09T06:00:05.079" v="5072" actId="790"/>
          <ac:spMkLst>
            <pc:docMk/>
            <pc:sldMk cId="1988039427" sldId="595"/>
            <ac:spMk id="55" creationId="{F3C1B003-3D81-4EED-B537-BF02ED85E7FB}"/>
          </ac:spMkLst>
        </pc:spChg>
        <pc:spChg chg="mod">
          <ac:chgData name="BODNER Christoph" userId="0e348722-d6b4-4f3e-b89e-da69cac527be" providerId="ADAL" clId="{8CBD7C6F-09A6-420D-843B-EE128337AEDA}" dt="2018-10-09T06:00:06.488" v="5073" actId="790"/>
          <ac:spMkLst>
            <pc:docMk/>
            <pc:sldMk cId="1988039427" sldId="595"/>
            <ac:spMk id="58" creationId="{C1CC5141-8521-43A3-9289-FBE8FD942B50}"/>
          </ac:spMkLst>
        </pc:spChg>
        <pc:spChg chg="mod">
          <ac:chgData name="BODNER Christoph" userId="0e348722-d6b4-4f3e-b89e-da69cac527be" providerId="ADAL" clId="{8CBD7C6F-09A6-420D-843B-EE128337AEDA}" dt="2018-10-09T06:00:10.474" v="5076" actId="790"/>
          <ac:spMkLst>
            <pc:docMk/>
            <pc:sldMk cId="1988039427" sldId="595"/>
            <ac:spMk id="62" creationId="{89E6DB48-E370-4B47-BEA4-E9AA77E23906}"/>
          </ac:spMkLst>
        </pc:spChg>
        <pc:spChg chg="mod">
          <ac:chgData name="BODNER Christoph" userId="0e348722-d6b4-4f3e-b89e-da69cac527be" providerId="ADAL" clId="{8CBD7C6F-09A6-420D-843B-EE128337AEDA}" dt="2018-10-09T06:00:10.474" v="5076" actId="790"/>
          <ac:spMkLst>
            <pc:docMk/>
            <pc:sldMk cId="1988039427" sldId="595"/>
            <ac:spMk id="63" creationId="{BFBBBB98-35C0-44FA-9EC9-4E64A14418C4}"/>
          </ac:spMkLst>
        </pc:spChg>
        <pc:spChg chg="mod">
          <ac:chgData name="BODNER Christoph" userId="0e348722-d6b4-4f3e-b89e-da69cac527be" providerId="ADAL" clId="{8CBD7C6F-09A6-420D-843B-EE128337AEDA}" dt="2018-10-09T06:00:09.016" v="5075" actId="790"/>
          <ac:spMkLst>
            <pc:docMk/>
            <pc:sldMk cId="1988039427" sldId="595"/>
            <ac:spMk id="65" creationId="{CF757D90-18BE-4F97-9EFE-F469C95A2D17}"/>
          </ac:spMkLst>
        </pc:spChg>
        <pc:spChg chg="mod">
          <ac:chgData name="BODNER Christoph" userId="0e348722-d6b4-4f3e-b89e-da69cac527be" providerId="ADAL" clId="{8CBD7C6F-09A6-420D-843B-EE128337AEDA}" dt="2018-10-09T06:00:09.016" v="5075" actId="790"/>
          <ac:spMkLst>
            <pc:docMk/>
            <pc:sldMk cId="1988039427" sldId="595"/>
            <ac:spMk id="66" creationId="{4215B2A4-D1F8-4DFB-9E15-35C4B2AD71D1}"/>
          </ac:spMkLst>
        </pc:spChg>
        <pc:spChg chg="mod">
          <ac:chgData name="BODNER Christoph" userId="0e348722-d6b4-4f3e-b89e-da69cac527be" providerId="ADAL" clId="{8CBD7C6F-09A6-420D-843B-EE128337AEDA}" dt="2018-10-09T06:00:07.917" v="5074" actId="790"/>
          <ac:spMkLst>
            <pc:docMk/>
            <pc:sldMk cId="1988039427" sldId="595"/>
            <ac:spMk id="68" creationId="{0B2D2BB6-5773-4305-A31B-732368DB1B09}"/>
          </ac:spMkLst>
        </pc:spChg>
        <pc:spChg chg="mod">
          <ac:chgData name="BODNER Christoph" userId="0e348722-d6b4-4f3e-b89e-da69cac527be" providerId="ADAL" clId="{8CBD7C6F-09A6-420D-843B-EE128337AEDA}" dt="2018-10-09T06:00:07.917" v="5074" actId="790"/>
          <ac:spMkLst>
            <pc:docMk/>
            <pc:sldMk cId="1988039427" sldId="595"/>
            <ac:spMk id="69" creationId="{C6DA558E-5C72-4D90-AA91-BF9273431499}"/>
          </ac:spMkLst>
        </pc:spChg>
        <pc:grpChg chg="add mod">
          <ac:chgData name="BODNER Christoph" userId="0e348722-d6b4-4f3e-b89e-da69cac527be" providerId="ADAL" clId="{8CBD7C6F-09A6-420D-843B-EE128337AEDA}" dt="2018-10-09T14:53:12.719" v="7576" actId="1035"/>
          <ac:grpSpMkLst>
            <pc:docMk/>
            <pc:sldMk cId="1988039427" sldId="595"/>
            <ac:grpSpMk id="6" creationId="{D38B1BE6-3135-4874-BB2D-97DDA0B2AB4C}"/>
          </ac:grpSpMkLst>
        </pc:grpChg>
        <pc:grpChg chg="add mod">
          <ac:chgData name="BODNER Christoph" userId="0e348722-d6b4-4f3e-b89e-da69cac527be" providerId="ADAL" clId="{8CBD7C6F-09A6-420D-843B-EE128337AEDA}" dt="2018-10-09T05:55:58.296" v="5029" actId="465"/>
          <ac:grpSpMkLst>
            <pc:docMk/>
            <pc:sldMk cId="1988039427" sldId="595"/>
            <ac:grpSpMk id="10" creationId="{D7C84F10-0A78-460A-834D-D52D16B997D8}"/>
          </ac:grpSpMkLst>
        </pc:grpChg>
        <pc:grpChg chg="add mod">
          <ac:chgData name="BODNER Christoph" userId="0e348722-d6b4-4f3e-b89e-da69cac527be" providerId="ADAL" clId="{8CBD7C6F-09A6-420D-843B-EE128337AEDA}" dt="2018-10-09T14:53:12.719" v="7576" actId="1035"/>
          <ac:grpSpMkLst>
            <pc:docMk/>
            <pc:sldMk cId="1988039427" sldId="595"/>
            <ac:grpSpMk id="34" creationId="{7A67EA5B-24D8-4EE2-814C-7A2715F5B15E}"/>
          </ac:grpSpMkLst>
        </pc:grpChg>
        <pc:grpChg chg="add mod">
          <ac:chgData name="BODNER Christoph" userId="0e348722-d6b4-4f3e-b89e-da69cac527be" providerId="ADAL" clId="{8CBD7C6F-09A6-420D-843B-EE128337AEDA}" dt="2018-10-09T05:55:58.296" v="5029" actId="465"/>
          <ac:grpSpMkLst>
            <pc:docMk/>
            <pc:sldMk cId="1988039427" sldId="595"/>
            <ac:grpSpMk id="46" creationId="{B2BF1133-B6E6-4BBB-86C1-FBA56076D93B}"/>
          </ac:grpSpMkLst>
        </pc:grpChg>
        <pc:grpChg chg="add mod">
          <ac:chgData name="BODNER Christoph" userId="0e348722-d6b4-4f3e-b89e-da69cac527be" providerId="ADAL" clId="{8CBD7C6F-09A6-420D-843B-EE128337AEDA}" dt="2018-10-09T05:55:58.296" v="5029" actId="465"/>
          <ac:grpSpMkLst>
            <pc:docMk/>
            <pc:sldMk cId="1988039427" sldId="595"/>
            <ac:grpSpMk id="50" creationId="{7BFA0A51-8D49-4B31-87D9-A4CE4C99DC4F}"/>
          </ac:grpSpMkLst>
        </pc:grpChg>
        <pc:grpChg chg="add mod">
          <ac:chgData name="BODNER Christoph" userId="0e348722-d6b4-4f3e-b89e-da69cac527be" providerId="ADAL" clId="{8CBD7C6F-09A6-420D-843B-EE128337AEDA}" dt="2018-10-09T05:55:58.296" v="5029" actId="465"/>
          <ac:grpSpMkLst>
            <pc:docMk/>
            <pc:sldMk cId="1988039427" sldId="595"/>
            <ac:grpSpMk id="53" creationId="{ACFA1D86-58DF-44B9-9401-E283E6EB093D}"/>
          </ac:grpSpMkLst>
        </pc:grpChg>
        <pc:grpChg chg="add mod">
          <ac:chgData name="BODNER Christoph" userId="0e348722-d6b4-4f3e-b89e-da69cac527be" providerId="ADAL" clId="{8CBD7C6F-09A6-420D-843B-EE128337AEDA}" dt="2018-10-09T05:55:58.296" v="5029" actId="465"/>
          <ac:grpSpMkLst>
            <pc:docMk/>
            <pc:sldMk cId="1988039427" sldId="595"/>
            <ac:grpSpMk id="56" creationId="{7DB64760-83C1-4315-8894-2FF0FC40A497}"/>
          </ac:grpSpMkLst>
        </pc:grpChg>
        <pc:grpChg chg="add mod">
          <ac:chgData name="BODNER Christoph" userId="0e348722-d6b4-4f3e-b89e-da69cac527be" providerId="ADAL" clId="{8CBD7C6F-09A6-420D-843B-EE128337AEDA}" dt="2018-10-09T05:56:01.614" v="5030" actId="465"/>
          <ac:grpSpMkLst>
            <pc:docMk/>
            <pc:sldMk cId="1988039427" sldId="595"/>
            <ac:grpSpMk id="61" creationId="{E457F2C1-A1A2-4D90-854D-7814425407A4}"/>
          </ac:grpSpMkLst>
        </pc:grpChg>
        <pc:grpChg chg="add mod">
          <ac:chgData name="BODNER Christoph" userId="0e348722-d6b4-4f3e-b89e-da69cac527be" providerId="ADAL" clId="{8CBD7C6F-09A6-420D-843B-EE128337AEDA}" dt="2018-10-09T05:56:01.614" v="5030" actId="465"/>
          <ac:grpSpMkLst>
            <pc:docMk/>
            <pc:sldMk cId="1988039427" sldId="595"/>
            <ac:grpSpMk id="64" creationId="{5A75880D-211C-4D14-8BDF-1E63B4347A79}"/>
          </ac:grpSpMkLst>
        </pc:grpChg>
        <pc:grpChg chg="add mod">
          <ac:chgData name="BODNER Christoph" userId="0e348722-d6b4-4f3e-b89e-da69cac527be" providerId="ADAL" clId="{8CBD7C6F-09A6-420D-843B-EE128337AEDA}" dt="2018-10-09T05:56:01.614" v="5030" actId="465"/>
          <ac:grpSpMkLst>
            <pc:docMk/>
            <pc:sldMk cId="1988039427" sldId="595"/>
            <ac:grpSpMk id="67" creationId="{A9781571-6E16-4259-B3D6-3BE7BC6CE245}"/>
          </ac:grpSpMkLst>
        </pc:grpChg>
        <pc:grpChg chg="del">
          <ac:chgData name="BODNER Christoph" userId="0e348722-d6b4-4f3e-b89e-da69cac527be" providerId="ADAL" clId="{8CBD7C6F-09A6-420D-843B-EE128337AEDA}" dt="2018-10-08T18:04:28.739" v="712" actId="478"/>
          <ac:grpSpMkLst>
            <pc:docMk/>
            <pc:sldMk cId="1988039427" sldId="595"/>
            <ac:grpSpMk id="123" creationId="{B19A8ADF-91F5-4F8D-987D-18641F78C3BA}"/>
          </ac:grpSpMkLst>
        </pc:grpChg>
        <pc:grpChg chg="del">
          <ac:chgData name="BODNER Christoph" userId="0e348722-d6b4-4f3e-b89e-da69cac527be" providerId="ADAL" clId="{8CBD7C6F-09A6-420D-843B-EE128337AEDA}" dt="2018-10-08T18:04:28.739" v="712" actId="478"/>
          <ac:grpSpMkLst>
            <pc:docMk/>
            <pc:sldMk cId="1988039427" sldId="595"/>
            <ac:grpSpMk id="128" creationId="{9F3673D4-D8DB-4F4B-B481-E6141615D1A1}"/>
          </ac:grpSpMkLst>
        </pc:grpChg>
        <pc:grpChg chg="del">
          <ac:chgData name="BODNER Christoph" userId="0e348722-d6b4-4f3e-b89e-da69cac527be" providerId="ADAL" clId="{8CBD7C6F-09A6-420D-843B-EE128337AEDA}" dt="2018-10-08T18:04:28.739" v="712" actId="478"/>
          <ac:grpSpMkLst>
            <pc:docMk/>
            <pc:sldMk cId="1988039427" sldId="595"/>
            <ac:grpSpMk id="133" creationId="{807E219B-B4E0-4843-BF00-77063BE16EC9}"/>
          </ac:grpSpMkLst>
        </pc:grpChg>
        <pc:grpChg chg="del">
          <ac:chgData name="BODNER Christoph" userId="0e348722-d6b4-4f3e-b89e-da69cac527be" providerId="ADAL" clId="{8CBD7C6F-09A6-420D-843B-EE128337AEDA}" dt="2018-10-08T18:04:28.739" v="712" actId="478"/>
          <ac:grpSpMkLst>
            <pc:docMk/>
            <pc:sldMk cId="1988039427" sldId="595"/>
            <ac:grpSpMk id="138" creationId="{9391688E-7507-41CE-917E-646EC5F3DBD7}"/>
          </ac:grpSpMkLst>
        </pc:grpChg>
        <pc:graphicFrameChg chg="add del modGraphic">
          <ac:chgData name="BODNER Christoph" userId="0e348722-d6b4-4f3e-b89e-da69cac527be" providerId="ADAL" clId="{8CBD7C6F-09A6-420D-843B-EE128337AEDA}" dt="2018-10-09T05:43:15.342" v="4508" actId="478"/>
          <ac:graphicFrameMkLst>
            <pc:docMk/>
            <pc:sldMk cId="1988039427" sldId="595"/>
            <ac:graphicFrameMk id="28" creationId="{0AC88AA7-E4AC-490F-878A-AC65D580190A}"/>
          </ac:graphicFrameMkLst>
        </pc:graphicFrameChg>
        <pc:picChg chg="add mod">
          <ac:chgData name="BODNER Christoph" userId="0e348722-d6b4-4f3e-b89e-da69cac527be" providerId="ADAL" clId="{8CBD7C6F-09A6-420D-843B-EE128337AEDA}" dt="2018-10-09T05:56:12.968" v="5037" actId="1037"/>
          <ac:picMkLst>
            <pc:docMk/>
            <pc:sldMk cId="1988039427" sldId="595"/>
            <ac:picMk id="12" creationId="{D39704CB-20C6-4B7C-B4D9-2FFE85C6D48C}"/>
          </ac:picMkLst>
        </pc:picChg>
        <pc:picChg chg="add mod">
          <ac:chgData name="BODNER Christoph" userId="0e348722-d6b4-4f3e-b89e-da69cac527be" providerId="ADAL" clId="{8CBD7C6F-09A6-420D-843B-EE128337AEDA}" dt="2018-10-09T05:58:40.475" v="5052" actId="207"/>
          <ac:picMkLst>
            <pc:docMk/>
            <pc:sldMk cId="1988039427" sldId="595"/>
            <ac:picMk id="16" creationId="{7481BD38-3B6F-44F5-9518-03E48906406B}"/>
          </ac:picMkLst>
        </pc:picChg>
        <pc:picChg chg="add mod">
          <ac:chgData name="BODNER Christoph" userId="0e348722-d6b4-4f3e-b89e-da69cac527be" providerId="ADAL" clId="{8CBD7C6F-09A6-420D-843B-EE128337AEDA}" dt="2018-10-09T05:58:47.777" v="5056" actId="1036"/>
          <ac:picMkLst>
            <pc:docMk/>
            <pc:sldMk cId="1988039427" sldId="595"/>
            <ac:picMk id="18" creationId="{4446C648-FA69-4F38-B382-CA905DDE7A0F}"/>
          </ac:picMkLst>
        </pc:picChg>
        <pc:picChg chg="add mod">
          <ac:chgData name="BODNER Christoph" userId="0e348722-d6b4-4f3e-b89e-da69cac527be" providerId="ADAL" clId="{8CBD7C6F-09A6-420D-843B-EE128337AEDA}" dt="2018-10-09T05:58:55.057" v="5058" actId="207"/>
          <ac:picMkLst>
            <pc:docMk/>
            <pc:sldMk cId="1988039427" sldId="595"/>
            <ac:picMk id="21" creationId="{87F283A1-D59A-435A-AA1A-0193D32148A1}"/>
          </ac:picMkLst>
        </pc:picChg>
        <pc:picChg chg="add mod">
          <ac:chgData name="BODNER Christoph" userId="0e348722-d6b4-4f3e-b89e-da69cac527be" providerId="ADAL" clId="{8CBD7C6F-09A6-420D-843B-EE128337AEDA}" dt="2018-10-09T05:59:06.008" v="5061" actId="207"/>
          <ac:picMkLst>
            <pc:docMk/>
            <pc:sldMk cId="1988039427" sldId="595"/>
            <ac:picMk id="23" creationId="{31E99AC1-CADD-42BB-83DC-CE63F5EA3DC7}"/>
          </ac:picMkLst>
        </pc:picChg>
        <pc:picChg chg="add mod">
          <ac:chgData name="BODNER Christoph" userId="0e348722-d6b4-4f3e-b89e-da69cac527be" providerId="ADAL" clId="{8CBD7C6F-09A6-420D-843B-EE128337AEDA}" dt="2018-10-09T05:59:45.842" v="5068" actId="207"/>
          <ac:picMkLst>
            <pc:docMk/>
            <pc:sldMk cId="1988039427" sldId="595"/>
            <ac:picMk id="25" creationId="{4251D48E-B396-4887-9EAA-A06F9C751E6C}"/>
          </ac:picMkLst>
        </pc:picChg>
        <pc:picChg chg="add mod">
          <ac:chgData name="BODNER Christoph" userId="0e348722-d6b4-4f3e-b89e-da69cac527be" providerId="ADAL" clId="{8CBD7C6F-09A6-420D-843B-EE128337AEDA}" dt="2018-10-09T05:59:45.842" v="5068" actId="207"/>
          <ac:picMkLst>
            <pc:docMk/>
            <pc:sldMk cId="1988039427" sldId="595"/>
            <ac:picMk id="29" creationId="{68736BDB-B0C9-4981-A8EE-B1E72899578A}"/>
          </ac:picMkLst>
        </pc:picChg>
        <pc:picChg chg="add mod">
          <ac:chgData name="BODNER Christoph" userId="0e348722-d6b4-4f3e-b89e-da69cac527be" providerId="ADAL" clId="{8CBD7C6F-09A6-420D-843B-EE128337AEDA}" dt="2018-10-09T05:59:45.842" v="5068" actId="207"/>
          <ac:picMkLst>
            <pc:docMk/>
            <pc:sldMk cId="1988039427" sldId="595"/>
            <ac:picMk id="32" creationId="{AAA1C4C7-6429-46D4-B523-3050B754BD9A}"/>
          </ac:picMkLst>
        </pc:picChg>
        <pc:picChg chg="add del mod">
          <ac:chgData name="BODNER Christoph" userId="0e348722-d6b4-4f3e-b89e-da69cac527be" providerId="ADAL" clId="{8CBD7C6F-09A6-420D-843B-EE128337AEDA}" dt="2018-10-09T05:51:13.195" v="4677" actId="478"/>
          <ac:picMkLst>
            <pc:docMk/>
            <pc:sldMk cId="1988039427" sldId="595"/>
            <ac:picMk id="49" creationId="{95D865F3-890D-4B33-9C7B-EB5C096B7D67}"/>
          </ac:picMkLst>
        </pc:picChg>
        <pc:picChg chg="del">
          <ac:chgData name="BODNER Christoph" userId="0e348722-d6b4-4f3e-b89e-da69cac527be" providerId="ADAL" clId="{8CBD7C6F-09A6-420D-843B-EE128337AEDA}" dt="2018-10-08T18:04:28.739" v="712" actId="478"/>
          <ac:picMkLst>
            <pc:docMk/>
            <pc:sldMk cId="1988039427" sldId="595"/>
            <ac:picMk id="147" creationId="{5165436D-A8D3-4AED-A00A-DD9AEA6A3C5C}"/>
          </ac:picMkLst>
        </pc:picChg>
        <pc:picChg chg="del">
          <ac:chgData name="BODNER Christoph" userId="0e348722-d6b4-4f3e-b89e-da69cac527be" providerId="ADAL" clId="{8CBD7C6F-09A6-420D-843B-EE128337AEDA}" dt="2018-10-08T18:04:28.739" v="712" actId="478"/>
          <ac:picMkLst>
            <pc:docMk/>
            <pc:sldMk cId="1988039427" sldId="595"/>
            <ac:picMk id="148" creationId="{B13A6466-D617-44AC-BE2E-F14F8A4DFA9A}"/>
          </ac:picMkLst>
        </pc:picChg>
        <pc:picChg chg="del">
          <ac:chgData name="BODNER Christoph" userId="0e348722-d6b4-4f3e-b89e-da69cac527be" providerId="ADAL" clId="{8CBD7C6F-09A6-420D-843B-EE128337AEDA}" dt="2018-10-08T18:04:28.739" v="712" actId="478"/>
          <ac:picMkLst>
            <pc:docMk/>
            <pc:sldMk cId="1988039427" sldId="595"/>
            <ac:picMk id="149" creationId="{FE0288D9-18A7-4D0B-9073-66732BCE54D5}"/>
          </ac:picMkLst>
        </pc:picChg>
        <pc:picChg chg="del">
          <ac:chgData name="BODNER Christoph" userId="0e348722-d6b4-4f3e-b89e-da69cac527be" providerId="ADAL" clId="{8CBD7C6F-09A6-420D-843B-EE128337AEDA}" dt="2018-10-08T18:04:28.739" v="712" actId="478"/>
          <ac:picMkLst>
            <pc:docMk/>
            <pc:sldMk cId="1988039427" sldId="595"/>
            <ac:picMk id="150" creationId="{5DCC753D-1457-4D2D-8BD2-61139E967925}"/>
          </ac:picMkLst>
        </pc:picChg>
        <pc:cxnChg chg="add mod">
          <ac:chgData name="BODNER Christoph" userId="0e348722-d6b4-4f3e-b89e-da69cac527be" providerId="ADAL" clId="{8CBD7C6F-09A6-420D-843B-EE128337AEDA}" dt="2018-10-09T05:44:25.720" v="4523" actId="164"/>
          <ac:cxnSpMkLst>
            <pc:docMk/>
            <pc:sldMk cId="1988039427" sldId="595"/>
            <ac:cxnSpMk id="3" creationId="{53763A92-4554-4798-A659-31D4FB49E3D1}"/>
          </ac:cxnSpMkLst>
        </pc:cxnChg>
        <pc:cxnChg chg="mod">
          <ac:chgData name="BODNER Christoph" userId="0e348722-d6b4-4f3e-b89e-da69cac527be" providerId="ADAL" clId="{8CBD7C6F-09A6-420D-843B-EE128337AEDA}" dt="2018-10-09T05:45:07.645" v="4537" actId="208"/>
          <ac:cxnSpMkLst>
            <pc:docMk/>
            <pc:sldMk cId="1988039427" sldId="595"/>
            <ac:cxnSpMk id="35" creationId="{3D7B9F55-22F8-45A3-927C-74B8F73BCB26}"/>
          </ac:cxnSpMkLst>
        </pc:cxnChg>
        <pc:cxnChg chg="add mod">
          <ac:chgData name="BODNER Christoph" userId="0e348722-d6b4-4f3e-b89e-da69cac527be" providerId="ADAL" clId="{8CBD7C6F-09A6-420D-843B-EE128337AEDA}" dt="2018-10-09T14:53:12.719" v="7576" actId="1035"/>
          <ac:cxnSpMkLst>
            <pc:docMk/>
            <pc:sldMk cId="1988039427" sldId="595"/>
            <ac:cxnSpMk id="37" creationId="{FAEA7A99-2B1B-4607-AD73-6E09DD13ECEC}"/>
          </ac:cxnSpMkLst>
        </pc:cxnChg>
        <pc:cxnChg chg="add mod">
          <ac:chgData name="BODNER Christoph" userId="0e348722-d6b4-4f3e-b89e-da69cac527be" providerId="ADAL" clId="{8CBD7C6F-09A6-420D-843B-EE128337AEDA}" dt="2018-10-09T14:53:17.466" v="7577" actId="14100"/>
          <ac:cxnSpMkLst>
            <pc:docMk/>
            <pc:sldMk cId="1988039427" sldId="595"/>
            <ac:cxnSpMk id="40" creationId="{4D00C404-19E0-4FAD-8824-4F48E8E1CCFD}"/>
          </ac:cxnSpMkLst>
        </pc:cxnChg>
        <pc:cxnChg chg="del">
          <ac:chgData name="BODNER Christoph" userId="0e348722-d6b4-4f3e-b89e-da69cac527be" providerId="ADAL" clId="{8CBD7C6F-09A6-420D-843B-EE128337AEDA}" dt="2018-10-09T05:43:28.999" v="4510" actId="478"/>
          <ac:cxnSpMkLst>
            <pc:docMk/>
            <pc:sldMk cId="1988039427" sldId="595"/>
            <ac:cxnSpMk id="120" creationId="{696C98D9-7B24-4A29-B61E-B31919C5D8E4}"/>
          </ac:cxnSpMkLst>
        </pc:cxnChg>
        <pc:cxnChg chg="del mod">
          <ac:chgData name="BODNER Christoph" userId="0e348722-d6b4-4f3e-b89e-da69cac527be" providerId="ADAL" clId="{8CBD7C6F-09A6-420D-843B-EE128337AEDA}" dt="2018-10-09T06:24:34.095" v="5250" actId="478"/>
          <ac:cxnSpMkLst>
            <pc:docMk/>
            <pc:sldMk cId="1988039427" sldId="595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5:43:30.348" v="4511" actId="478"/>
          <ac:cxnSpMkLst>
            <pc:docMk/>
            <pc:sldMk cId="1988039427" sldId="595"/>
            <ac:cxnSpMk id="122" creationId="{D6CE391A-7A80-4D5F-BC2E-D138D955CF7D}"/>
          </ac:cxnSpMkLst>
        </pc:cxnChg>
      </pc:sldChg>
      <pc:sldChg chg="modSp">
        <pc:chgData name="BODNER Christoph" userId="0e348722-d6b4-4f3e-b89e-da69cac527be" providerId="ADAL" clId="{8CBD7C6F-09A6-420D-843B-EE128337AEDA}" dt="2018-10-08T18:06:35.404" v="744"/>
        <pc:sldMkLst>
          <pc:docMk/>
          <pc:sldMk cId="935702248" sldId="596"/>
        </pc:sldMkLst>
        <pc:spChg chg="mod">
          <ac:chgData name="BODNER Christoph" userId="0e348722-d6b4-4f3e-b89e-da69cac527be" providerId="ADAL" clId="{8CBD7C6F-09A6-420D-843B-EE128337AEDA}" dt="2018-10-08T18:06:35.404" v="744"/>
          <ac:spMkLst>
            <pc:docMk/>
            <pc:sldMk cId="935702248" sldId="596"/>
            <ac:spMk id="17" creationId="{23B41AE1-DD64-41F1-AD99-A8AF0C33A4A1}"/>
          </ac:spMkLst>
        </pc:spChg>
      </pc:sldChg>
      <pc:sldChg chg="addSp delSp modSp add ord">
        <pc:chgData name="BODNER Christoph" userId="0e348722-d6b4-4f3e-b89e-da69cac527be" providerId="ADAL" clId="{8CBD7C6F-09A6-420D-843B-EE128337AEDA}" dt="2018-10-09T06:24:30.174" v="5249" actId="478"/>
        <pc:sldMkLst>
          <pc:docMk/>
          <pc:sldMk cId="625115505" sldId="597"/>
        </pc:sldMkLst>
        <pc:spChg chg="add del mod">
          <ac:chgData name="BODNER Christoph" userId="0e348722-d6b4-4f3e-b89e-da69cac527be" providerId="ADAL" clId="{8CBD7C6F-09A6-420D-843B-EE128337AEDA}" dt="2018-10-08T19:35:20.256" v="3855" actId="478"/>
          <ac:spMkLst>
            <pc:docMk/>
            <pc:sldMk cId="625115505" sldId="597"/>
            <ac:spMk id="2" creationId="{BE0840EB-BC1E-4170-A9E6-A8AB96DB0C38}"/>
          </ac:spMkLst>
        </pc:spChg>
        <pc:spChg chg="add del mod">
          <ac:chgData name="BODNER Christoph" userId="0e348722-d6b4-4f3e-b89e-da69cac527be" providerId="ADAL" clId="{8CBD7C6F-09A6-420D-843B-EE128337AEDA}" dt="2018-10-08T19:30:49.512" v="3808"/>
          <ac:spMkLst>
            <pc:docMk/>
            <pc:sldMk cId="625115505" sldId="597"/>
            <ac:spMk id="8" creationId="{C8CAC3C0-8D03-4ECC-AD43-0F7DA2984D0E}"/>
          </ac:spMkLst>
        </pc:spChg>
        <pc:spChg chg="add mod">
          <ac:chgData name="BODNER Christoph" userId="0e348722-d6b4-4f3e-b89e-da69cac527be" providerId="ADAL" clId="{8CBD7C6F-09A6-420D-843B-EE128337AEDA}" dt="2018-10-09T06:08:17.805" v="5179" actId="207"/>
          <ac:spMkLst>
            <pc:docMk/>
            <pc:sldMk cId="625115505" sldId="597"/>
            <ac:spMk id="14" creationId="{090D10A2-0C6F-40F8-80BF-CF29E96337FE}"/>
          </ac:spMkLst>
        </pc:spChg>
        <pc:spChg chg="add mod">
          <ac:chgData name="BODNER Christoph" userId="0e348722-d6b4-4f3e-b89e-da69cac527be" providerId="ADAL" clId="{8CBD7C6F-09A6-420D-843B-EE128337AEDA}" dt="2018-10-08T19:29:46.922" v="3744" actId="1076"/>
          <ac:spMkLst>
            <pc:docMk/>
            <pc:sldMk cId="625115505" sldId="597"/>
            <ac:spMk id="15" creationId="{ACBD618D-9D4E-4716-9296-F732B9CB81C6}"/>
          </ac:spMkLst>
        </pc:spChg>
        <pc:spChg chg="add mod">
          <ac:chgData name="BODNER Christoph" userId="0e348722-d6b4-4f3e-b89e-da69cac527be" providerId="ADAL" clId="{8CBD7C6F-09A6-420D-843B-EE128337AEDA}" dt="2018-10-09T06:08:17.805" v="5179" actId="207"/>
          <ac:spMkLst>
            <pc:docMk/>
            <pc:sldMk cId="625115505" sldId="597"/>
            <ac:spMk id="20" creationId="{1A53441B-0C76-4BB0-B3F4-905EB6B75DA5}"/>
          </ac:spMkLst>
        </pc:spChg>
        <pc:spChg chg="add mod">
          <ac:chgData name="BODNER Christoph" userId="0e348722-d6b4-4f3e-b89e-da69cac527be" providerId="ADAL" clId="{8CBD7C6F-09A6-420D-843B-EE128337AEDA}" dt="2018-10-09T06:08:17.805" v="5179" actId="207"/>
          <ac:spMkLst>
            <pc:docMk/>
            <pc:sldMk cId="625115505" sldId="597"/>
            <ac:spMk id="21" creationId="{54E0076C-507E-4E8D-BD64-DE9D7CF233BE}"/>
          </ac:spMkLst>
        </pc:spChg>
        <pc:spChg chg="add mod">
          <ac:chgData name="BODNER Christoph" userId="0e348722-d6b4-4f3e-b89e-da69cac527be" providerId="ADAL" clId="{8CBD7C6F-09A6-420D-843B-EE128337AEDA}" dt="2018-10-09T06:08:17.805" v="5179" actId="207"/>
          <ac:spMkLst>
            <pc:docMk/>
            <pc:sldMk cId="625115505" sldId="597"/>
            <ac:spMk id="22" creationId="{4359264B-2730-4E56-851B-98D2F06E1004}"/>
          </ac:spMkLst>
        </pc:spChg>
        <pc:spChg chg="add mod">
          <ac:chgData name="BODNER Christoph" userId="0e348722-d6b4-4f3e-b89e-da69cac527be" providerId="ADAL" clId="{8CBD7C6F-09A6-420D-843B-EE128337AEDA}" dt="2018-10-08T19:29:46.922" v="3744" actId="1076"/>
          <ac:spMkLst>
            <pc:docMk/>
            <pc:sldMk cId="625115505" sldId="597"/>
            <ac:spMk id="24" creationId="{4A3A7CFF-BE40-4A78-9D78-AE2B1993D12A}"/>
          </ac:spMkLst>
        </pc:spChg>
        <pc:spChg chg="add mod">
          <ac:chgData name="BODNER Christoph" userId="0e348722-d6b4-4f3e-b89e-da69cac527be" providerId="ADAL" clId="{8CBD7C6F-09A6-420D-843B-EE128337AEDA}" dt="2018-10-08T19:29:46.922" v="3744" actId="1076"/>
          <ac:spMkLst>
            <pc:docMk/>
            <pc:sldMk cId="625115505" sldId="597"/>
            <ac:spMk id="25" creationId="{13801FE4-F560-47F7-AE08-A83D07035918}"/>
          </ac:spMkLst>
        </pc:spChg>
        <pc:spChg chg="add mod">
          <ac:chgData name="BODNER Christoph" userId="0e348722-d6b4-4f3e-b89e-da69cac527be" providerId="ADAL" clId="{8CBD7C6F-09A6-420D-843B-EE128337AEDA}" dt="2018-10-08T19:28:55.355" v="3740" actId="790"/>
          <ac:spMkLst>
            <pc:docMk/>
            <pc:sldMk cId="625115505" sldId="597"/>
            <ac:spMk id="26" creationId="{FCEB7A46-9A7C-4846-A91F-8A7584C46F18}"/>
          </ac:spMkLst>
        </pc:spChg>
        <pc:spChg chg="mod">
          <ac:chgData name="BODNER Christoph" userId="0e348722-d6b4-4f3e-b89e-da69cac527be" providerId="ADAL" clId="{8CBD7C6F-09A6-420D-843B-EE128337AEDA}" dt="2018-10-08T19:29:11.532" v="3741" actId="790"/>
          <ac:spMkLst>
            <pc:docMk/>
            <pc:sldMk cId="625115505" sldId="597"/>
            <ac:spMk id="30" creationId="{64B1802F-7242-48B9-959C-BF6DC1BEB06F}"/>
          </ac:spMkLst>
        </pc:spChg>
        <pc:picChg chg="add del mod">
          <ac:chgData name="BODNER Christoph" userId="0e348722-d6b4-4f3e-b89e-da69cac527be" providerId="ADAL" clId="{8CBD7C6F-09A6-420D-843B-EE128337AEDA}" dt="2018-10-08T19:29:34.279" v="3743" actId="478"/>
          <ac:picMkLst>
            <pc:docMk/>
            <pc:sldMk cId="625115505" sldId="597"/>
            <ac:picMk id="3" creationId="{A3A5EF7C-C414-452F-B7C1-E0DE247DD5CC}"/>
          </ac:picMkLst>
        </pc:picChg>
        <pc:picChg chg="add mod">
          <ac:chgData name="BODNER Christoph" userId="0e348722-d6b4-4f3e-b89e-da69cac527be" providerId="ADAL" clId="{8CBD7C6F-09A6-420D-843B-EE128337AEDA}" dt="2018-10-09T06:08:05.173" v="5178" actId="207"/>
          <ac:picMkLst>
            <pc:docMk/>
            <pc:sldMk cId="625115505" sldId="597"/>
            <ac:picMk id="5" creationId="{67FE8F46-49EA-4634-A099-ED5E59F2C55D}"/>
          </ac:picMkLst>
        </pc:picChg>
        <pc:picChg chg="add mod">
          <ac:chgData name="BODNER Christoph" userId="0e348722-d6b4-4f3e-b89e-da69cac527be" providerId="ADAL" clId="{8CBD7C6F-09A6-420D-843B-EE128337AEDA}" dt="2018-10-09T06:08:05.173" v="5178" actId="207"/>
          <ac:picMkLst>
            <pc:docMk/>
            <pc:sldMk cId="625115505" sldId="597"/>
            <ac:picMk id="7" creationId="{7C277AE5-D2B6-484D-92C4-6C732BF76530}"/>
          </ac:picMkLst>
        </pc:picChg>
        <pc:picChg chg="add del">
          <ac:chgData name="BODNER Christoph" userId="0e348722-d6b4-4f3e-b89e-da69cac527be" providerId="ADAL" clId="{8CBD7C6F-09A6-420D-843B-EE128337AEDA}" dt="2018-10-08T18:34:55.163" v="1110"/>
          <ac:picMkLst>
            <pc:docMk/>
            <pc:sldMk cId="625115505" sldId="597"/>
            <ac:picMk id="10" creationId="{3D6B2C2A-8549-4474-89B4-249ABB3FE712}"/>
          </ac:picMkLst>
        </pc:picChg>
        <pc:picChg chg="add mod">
          <ac:chgData name="BODNER Christoph" userId="0e348722-d6b4-4f3e-b89e-da69cac527be" providerId="ADAL" clId="{8CBD7C6F-09A6-420D-843B-EE128337AEDA}" dt="2018-10-09T06:08:05.173" v="5178" actId="207"/>
          <ac:picMkLst>
            <pc:docMk/>
            <pc:sldMk cId="625115505" sldId="597"/>
            <ac:picMk id="11" creationId="{678876D2-EB34-4D85-A58D-538D04517E40}"/>
          </ac:picMkLst>
        </pc:picChg>
        <pc:picChg chg="add mod">
          <ac:chgData name="BODNER Christoph" userId="0e348722-d6b4-4f3e-b89e-da69cac527be" providerId="ADAL" clId="{8CBD7C6F-09A6-420D-843B-EE128337AEDA}" dt="2018-10-09T06:08:05.173" v="5178" actId="207"/>
          <ac:picMkLst>
            <pc:docMk/>
            <pc:sldMk cId="625115505" sldId="597"/>
            <ac:picMk id="13" creationId="{06E9268F-6DC6-401E-8FE9-70E437C0AEAA}"/>
          </ac:picMkLst>
        </pc:picChg>
        <pc:cxnChg chg="del">
          <ac:chgData name="BODNER Christoph" userId="0e348722-d6b4-4f3e-b89e-da69cac527be" providerId="ADAL" clId="{8CBD7C6F-09A6-420D-843B-EE128337AEDA}" dt="2018-10-09T05:43:33.717" v="4512" actId="478"/>
          <ac:cxnSpMkLst>
            <pc:docMk/>
            <pc:sldMk cId="625115505" sldId="597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24:30.174" v="5249" actId="478"/>
          <ac:cxnSpMkLst>
            <pc:docMk/>
            <pc:sldMk cId="625115505" sldId="597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5:43:35.281" v="4513" actId="478"/>
          <ac:cxnSpMkLst>
            <pc:docMk/>
            <pc:sldMk cId="625115505" sldId="597"/>
            <ac:cxnSpMk id="122" creationId="{D6CE391A-7A80-4D5F-BC2E-D138D955CF7D}"/>
          </ac:cxnSpMkLst>
        </pc:cxnChg>
      </pc:sldChg>
      <pc:sldChg chg="addSp delSp modSp add">
        <pc:chgData name="BODNER Christoph" userId="0e348722-d6b4-4f3e-b89e-da69cac527be" providerId="ADAL" clId="{8CBD7C6F-09A6-420D-843B-EE128337AEDA}" dt="2018-10-09T06:38:37.119" v="5803" actId="1076"/>
        <pc:sldMkLst>
          <pc:docMk/>
          <pc:sldMk cId="3217761886" sldId="598"/>
        </pc:sldMkLst>
        <pc:spChg chg="add del mod">
          <ac:chgData name="BODNER Christoph" userId="0e348722-d6b4-4f3e-b89e-da69cac527be" providerId="ADAL" clId="{8CBD7C6F-09A6-420D-843B-EE128337AEDA}" dt="2018-10-09T06:30:30.304" v="5475" actId="478"/>
          <ac:spMkLst>
            <pc:docMk/>
            <pc:sldMk cId="3217761886" sldId="598"/>
            <ac:spMk id="7" creationId="{2FCB992E-FEBA-441D-9E7D-73FF2FAE7020}"/>
          </ac:spMkLst>
        </pc:spChg>
        <pc:spChg chg="mod">
          <ac:chgData name="BODNER Christoph" userId="0e348722-d6b4-4f3e-b89e-da69cac527be" providerId="ADAL" clId="{8CBD7C6F-09A6-420D-843B-EE128337AEDA}" dt="2018-10-08T18:30:37.948" v="960" actId="20577"/>
          <ac:spMkLst>
            <pc:docMk/>
            <pc:sldMk cId="3217761886" sldId="598"/>
            <ac:spMk id="30" creationId="{64B1802F-7242-48B9-959C-BF6DC1BEB06F}"/>
          </ac:spMkLst>
        </pc:spChg>
        <pc:spChg chg="add del mod">
          <ac:chgData name="BODNER Christoph" userId="0e348722-d6b4-4f3e-b89e-da69cac527be" providerId="ADAL" clId="{8CBD7C6F-09A6-420D-843B-EE128337AEDA}" dt="2018-10-09T06:30:07.405" v="5467" actId="478"/>
          <ac:spMkLst>
            <pc:docMk/>
            <pc:sldMk cId="3217761886" sldId="598"/>
            <ac:spMk id="33" creationId="{F3B38C78-4C90-4BAE-8DB8-4FBBD25389D8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34" creationId="{9B04D31A-7DED-4C8C-9428-DB4580C29712}"/>
          </ac:spMkLst>
        </pc:spChg>
        <pc:spChg chg="add del mod">
          <ac:chgData name="BODNER Christoph" userId="0e348722-d6b4-4f3e-b89e-da69cac527be" providerId="ADAL" clId="{8CBD7C6F-09A6-420D-843B-EE128337AEDA}" dt="2018-10-09T06:27:47.131" v="5344" actId="478"/>
          <ac:spMkLst>
            <pc:docMk/>
            <pc:sldMk cId="3217761886" sldId="598"/>
            <ac:spMk id="40" creationId="{D3103885-7D64-44CE-B584-1979215393E1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43" creationId="{7CD11593-F994-44AB-9367-0AEDF4FD1BBC}"/>
          </ac:spMkLst>
        </pc:spChg>
        <pc:spChg chg="add del mod">
          <ac:chgData name="BODNER Christoph" userId="0e348722-d6b4-4f3e-b89e-da69cac527be" providerId="ADAL" clId="{8CBD7C6F-09A6-420D-843B-EE128337AEDA}" dt="2018-10-09T06:33:59.916" v="5637"/>
          <ac:spMkLst>
            <pc:docMk/>
            <pc:sldMk cId="3217761886" sldId="598"/>
            <ac:spMk id="44" creationId="{346AE215-F6DE-452F-AC3D-C5C270D51242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45" creationId="{82FFCCF1-8F43-478F-AD26-17EBF812F4C0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46" creationId="{334FC885-ED3A-4DC8-BEE8-1AE4160F57E4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47" creationId="{A7495961-1053-4317-A5C9-F0C7559FD21C}"/>
          </ac:spMkLst>
        </pc:spChg>
        <pc:spChg chg="add del mod">
          <ac:chgData name="BODNER Christoph" userId="0e348722-d6b4-4f3e-b89e-da69cac527be" providerId="ADAL" clId="{8CBD7C6F-09A6-420D-843B-EE128337AEDA}" dt="2018-10-09T06:31:05.845" v="5505" actId="478"/>
          <ac:spMkLst>
            <pc:docMk/>
            <pc:sldMk cId="3217761886" sldId="598"/>
            <ac:spMk id="49" creationId="{9AC70065-39A9-4DCF-AD78-CE45B0D785E8}"/>
          </ac:spMkLst>
        </pc:spChg>
        <pc:spChg chg="add del mod">
          <ac:chgData name="BODNER Christoph" userId="0e348722-d6b4-4f3e-b89e-da69cac527be" providerId="ADAL" clId="{8CBD7C6F-09A6-420D-843B-EE128337AEDA}" dt="2018-10-09T06:31:31.456" v="5510" actId="478"/>
          <ac:spMkLst>
            <pc:docMk/>
            <pc:sldMk cId="3217761886" sldId="598"/>
            <ac:spMk id="50" creationId="{E8B40458-09B8-40C3-BD12-43F84DA2B98A}"/>
          </ac:spMkLst>
        </pc:spChg>
        <pc:spChg chg="add mod or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52" creationId="{32FF6DF0-F7EC-4F6A-9B99-A76A28D89B40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54" creationId="{5F89FBD4-F132-48F0-9C62-6D523A4C5081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58" creationId="{BBD3C0BD-6343-48F5-9A49-413D9B6F74BA}"/>
          </ac:spMkLst>
        </pc:spChg>
        <pc:spChg chg="add mod">
          <ac:chgData name="BODNER Christoph" userId="0e348722-d6b4-4f3e-b89e-da69cac527be" providerId="ADAL" clId="{8CBD7C6F-09A6-420D-843B-EE128337AEDA}" dt="2018-10-09T06:35:08.709" v="5670" actId="1037"/>
          <ac:spMkLst>
            <pc:docMk/>
            <pc:sldMk cId="3217761886" sldId="598"/>
            <ac:spMk id="59" creationId="{B991B49F-23B0-48C5-B733-10B63CF4A144}"/>
          </ac:spMkLst>
        </pc:spChg>
        <pc:spChg chg="add del mod">
          <ac:chgData name="BODNER Christoph" userId="0e348722-d6b4-4f3e-b89e-da69cac527be" providerId="ADAL" clId="{8CBD7C6F-09A6-420D-843B-EE128337AEDA}" dt="2018-10-09T06:38:37.119" v="5803" actId="1076"/>
          <ac:spMkLst>
            <pc:docMk/>
            <pc:sldMk cId="3217761886" sldId="598"/>
            <ac:spMk id="63" creationId="{D81C60F1-64DB-4E4A-AB92-D603D218C22D}"/>
          </ac:spMkLst>
        </pc:spChg>
        <pc:picChg chg="add del mod">
          <ac:chgData name="BODNER Christoph" userId="0e348722-d6b4-4f3e-b89e-da69cac527be" providerId="ADAL" clId="{8CBD7C6F-09A6-420D-843B-EE128337AEDA}" dt="2018-10-09T06:22:25.265" v="5224" actId="478"/>
          <ac:picMkLst>
            <pc:docMk/>
            <pc:sldMk cId="3217761886" sldId="598"/>
            <ac:picMk id="3" creationId="{2138B2C0-30FD-492C-A1DC-5CD243A33355}"/>
          </ac:picMkLst>
        </pc:picChg>
        <pc:picChg chg="add del mod">
          <ac:chgData name="BODNER Christoph" userId="0e348722-d6b4-4f3e-b89e-da69cac527be" providerId="ADAL" clId="{8CBD7C6F-09A6-420D-843B-EE128337AEDA}" dt="2018-10-09T06:22:26.242" v="5225" actId="478"/>
          <ac:picMkLst>
            <pc:docMk/>
            <pc:sldMk cId="3217761886" sldId="598"/>
            <ac:picMk id="5" creationId="{8F9D6309-7290-485F-B843-3FE141B61CAD}"/>
          </ac:picMkLst>
        </pc:picChg>
        <pc:picChg chg="add mo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8" creationId="{8FED68F1-2A90-41EA-91E5-7B00140AFD2C}"/>
          </ac:picMkLst>
        </pc:picChg>
        <pc:picChg chg="add del mod">
          <ac:chgData name="BODNER Christoph" userId="0e348722-d6b4-4f3e-b89e-da69cac527be" providerId="ADAL" clId="{8CBD7C6F-09A6-420D-843B-EE128337AEDA}" dt="2018-10-09T06:14:43.477" v="5193" actId="478"/>
          <ac:picMkLst>
            <pc:docMk/>
            <pc:sldMk cId="3217761886" sldId="598"/>
            <ac:picMk id="10" creationId="{A8D787F5-CECB-4EC8-A85F-3792EB7290DE}"/>
          </ac:picMkLst>
        </pc:picChg>
        <pc:picChg chg="add mo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12" creationId="{C2E3A312-E16A-4A66-B53E-C0ED8551829D}"/>
          </ac:picMkLst>
        </pc:picChg>
        <pc:picChg chg="add mod modCrop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14" creationId="{9F306952-6514-46FE-8A33-74D35078E236}"/>
          </ac:picMkLst>
        </pc:picChg>
        <pc:picChg chg="add mo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16" creationId="{96F3D391-82A6-42C3-83CD-7644E3FB3A64}"/>
          </ac:picMkLst>
        </pc:picChg>
        <pc:picChg chg="add mod modCrop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18" creationId="{A775847D-67F0-4243-8174-E5CE6492BE36}"/>
          </ac:picMkLst>
        </pc:picChg>
        <pc:picChg chg="add mo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21" creationId="{1C643F38-FA76-4DE9-B0E1-129D4B66C569}"/>
          </ac:picMkLst>
        </pc:picChg>
        <pc:picChg chg="add mo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27" creationId="{DDCFABB5-8D0B-4C7F-BDCB-C7C09398D803}"/>
          </ac:picMkLst>
        </pc:picChg>
        <pc:picChg chg="add del mod">
          <ac:chgData name="BODNER Christoph" userId="0e348722-d6b4-4f3e-b89e-da69cac527be" providerId="ADAL" clId="{8CBD7C6F-09A6-420D-843B-EE128337AEDA}" dt="2018-10-09T06:37:57.433" v="5746" actId="478"/>
          <ac:picMkLst>
            <pc:docMk/>
            <pc:sldMk cId="3217761886" sldId="598"/>
            <ac:picMk id="57" creationId="{921E461E-C57B-4BE5-A02D-4DD5842821DD}"/>
          </ac:picMkLst>
        </pc:picChg>
        <pc:picChg chg="add">
          <ac:chgData name="BODNER Christoph" userId="0e348722-d6b4-4f3e-b89e-da69cac527be" providerId="ADAL" clId="{8CBD7C6F-09A6-420D-843B-EE128337AEDA}" dt="2018-10-09T06:34:44.958" v="5654"/>
          <ac:picMkLst>
            <pc:docMk/>
            <pc:sldMk cId="3217761886" sldId="598"/>
            <ac:picMk id="60" creationId="{46FAA263-E115-4937-A6F5-7718641A0811}"/>
          </ac:picMkLst>
        </pc:picChg>
        <pc:picChg chg="add mod ord">
          <ac:chgData name="BODNER Christoph" userId="0e348722-d6b4-4f3e-b89e-da69cac527be" providerId="ADAL" clId="{8CBD7C6F-09A6-420D-843B-EE128337AEDA}" dt="2018-10-09T06:35:08.709" v="5670" actId="1037"/>
          <ac:picMkLst>
            <pc:docMk/>
            <pc:sldMk cId="3217761886" sldId="598"/>
            <ac:picMk id="10242" creationId="{DE765007-916B-4813-A282-2DFD04926D40}"/>
          </ac:picMkLst>
        </pc:pic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28" creationId="{40F49D7A-1E86-48BD-BCDF-888F8F99893A}"/>
          </ac:cxnSpMkLst>
        </pc:cxn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31" creationId="{BB466088-8B16-4283-9B91-A1222B2C0190}"/>
          </ac:cxnSpMkLst>
        </pc:cxn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32" creationId="{C07FDDA1-8823-4951-83F0-C3A18A30D3F5}"/>
          </ac:cxnSpMkLst>
        </pc:cxn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35" creationId="{3525C28F-99CE-45C9-95EA-3AF6A9C77BC7}"/>
          </ac:cxnSpMkLst>
        </pc:cxn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37" creationId="{950106BA-8802-4C06-9753-1F05AF7C0077}"/>
          </ac:cxnSpMkLst>
        </pc:cxnChg>
        <pc:cxnChg chg="add mod">
          <ac:chgData name="BODNER Christoph" userId="0e348722-d6b4-4f3e-b89e-da69cac527be" providerId="ADAL" clId="{8CBD7C6F-09A6-420D-843B-EE128337AEDA}" dt="2018-10-09T06:35:08.709" v="5670" actId="1037"/>
          <ac:cxnSpMkLst>
            <pc:docMk/>
            <pc:sldMk cId="3217761886" sldId="598"/>
            <ac:cxnSpMk id="51" creationId="{2097B170-D7DB-4C0D-AD8A-275678FCB0A2}"/>
          </ac:cxnSpMkLst>
        </pc:cxnChg>
        <pc:cxnChg chg="del">
          <ac:chgData name="BODNER Christoph" userId="0e348722-d6b4-4f3e-b89e-da69cac527be" providerId="ADAL" clId="{8CBD7C6F-09A6-420D-843B-EE128337AEDA}" dt="2018-10-09T06:00:22.941" v="5077" actId="478"/>
          <ac:cxnSpMkLst>
            <pc:docMk/>
            <pc:sldMk cId="3217761886" sldId="598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24:40.197" v="5252" actId="478"/>
          <ac:cxnSpMkLst>
            <pc:docMk/>
            <pc:sldMk cId="3217761886" sldId="598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6:00:24.090" v="5078" actId="478"/>
          <ac:cxnSpMkLst>
            <pc:docMk/>
            <pc:sldMk cId="3217761886" sldId="598"/>
            <ac:cxnSpMk id="122" creationId="{D6CE391A-7A80-4D5F-BC2E-D138D955CF7D}"/>
          </ac:cxnSpMkLst>
        </pc:cxnChg>
      </pc:sldChg>
      <pc:sldChg chg="addSp delSp modSp add">
        <pc:chgData name="BODNER Christoph" userId="0e348722-d6b4-4f3e-b89e-da69cac527be" providerId="ADAL" clId="{8CBD7C6F-09A6-420D-843B-EE128337AEDA}" dt="2018-10-09T12:53:08.894" v="7564" actId="1076"/>
        <pc:sldMkLst>
          <pc:docMk/>
          <pc:sldMk cId="2059930779" sldId="599"/>
        </pc:sldMkLst>
        <pc:spChg chg="del mod">
          <ac:chgData name="BODNER Christoph" userId="0e348722-d6b4-4f3e-b89e-da69cac527be" providerId="ADAL" clId="{8CBD7C6F-09A6-420D-843B-EE128337AEDA}" dt="2018-10-08T19:55:09.579" v="4370" actId="478"/>
          <ac:spMkLst>
            <pc:docMk/>
            <pc:sldMk cId="2059930779" sldId="599"/>
            <ac:spMk id="2" creationId="{BE0840EB-BC1E-4170-A9E6-A8AB96DB0C38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6" creationId="{D7419C39-5920-4026-8093-01558B7D0914}"/>
          </ac:spMkLst>
        </pc:spChg>
        <pc:spChg chg="del">
          <ac:chgData name="BODNER Christoph" userId="0e348722-d6b4-4f3e-b89e-da69cac527be" providerId="ADAL" clId="{8CBD7C6F-09A6-420D-843B-EE128337AEDA}" dt="2018-10-08T18:35:42.276" v="1215" actId="478"/>
          <ac:spMkLst>
            <pc:docMk/>
            <pc:sldMk cId="2059930779" sldId="599"/>
            <ac:spMk id="8" creationId="{C8CAC3C0-8D03-4ECC-AD43-0F7DA2984D0E}"/>
          </ac:spMkLst>
        </pc:spChg>
        <pc:spChg chg="add del mod">
          <ac:chgData name="BODNER Christoph" userId="0e348722-d6b4-4f3e-b89e-da69cac527be" providerId="ADAL" clId="{8CBD7C6F-09A6-420D-843B-EE128337AEDA}" dt="2018-10-08T19:47:36.087" v="4060" actId="478"/>
          <ac:spMkLst>
            <pc:docMk/>
            <pc:sldMk cId="2059930779" sldId="599"/>
            <ac:spMk id="18" creationId="{B76561D1-4061-43A6-8D6D-8F2421F3060E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21" creationId="{089DBF29-9D08-4381-BA46-B858E0E73D90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22" creationId="{34C26FA9-A529-40E6-B732-348EB30620A9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23" creationId="{1B95AE52-0ABD-4F6F-A8DF-382AC2E3F89D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24" creationId="{753F208E-E95B-4380-9839-38B1E6E92FA2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25" creationId="{41984167-0B9A-44D5-89A8-973A10DB8289}"/>
          </ac:spMkLst>
        </pc:spChg>
        <pc:spChg chg="add mod">
          <ac:chgData name="BODNER Christoph" userId="0e348722-d6b4-4f3e-b89e-da69cac527be" providerId="ADAL" clId="{8CBD7C6F-09A6-420D-843B-EE128337AEDA}" dt="2018-10-09T05:41:42.781" v="4478" actId="1035"/>
          <ac:spMkLst>
            <pc:docMk/>
            <pc:sldMk cId="2059930779" sldId="599"/>
            <ac:spMk id="26" creationId="{CFC0ED2C-5203-4C2B-ACE0-1BB37508DEF3}"/>
          </ac:spMkLst>
        </pc:spChg>
        <pc:spChg chg="mod">
          <ac:chgData name="BODNER Christoph" userId="0e348722-d6b4-4f3e-b89e-da69cac527be" providerId="ADAL" clId="{8CBD7C6F-09A6-420D-843B-EE128337AEDA}" dt="2018-10-08T18:35:27.788" v="1195" actId="20577"/>
          <ac:spMkLst>
            <pc:docMk/>
            <pc:sldMk cId="2059930779" sldId="599"/>
            <ac:spMk id="30" creationId="{64B1802F-7242-48B9-959C-BF6DC1BEB06F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33" creationId="{1E24F140-F661-4236-814B-D6D52996AA3F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34" creationId="{06D110A3-1ED2-4096-8272-584A3FD85A89}"/>
          </ac:spMkLst>
        </pc:spChg>
        <pc:spChg chg="add mod">
          <ac:chgData name="BODNER Christoph" userId="0e348722-d6b4-4f3e-b89e-da69cac527be" providerId="ADAL" clId="{8CBD7C6F-09A6-420D-843B-EE128337AEDA}" dt="2018-10-08T19:44:32.394" v="3978" actId="571"/>
          <ac:spMkLst>
            <pc:docMk/>
            <pc:sldMk cId="2059930779" sldId="599"/>
            <ac:spMk id="36" creationId="{94B1A158-22D6-4C37-89A4-A927AC43B440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37" creationId="{43A1BFFC-56D4-494A-918B-FA87090A8391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38" creationId="{C7F0933F-AE74-4A0A-9A45-D610654C3032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39" creationId="{27B87072-EE1C-49AE-BC66-0E15BEBAB68E}"/>
          </ac:spMkLst>
        </pc:spChg>
        <pc:spChg chg="add mod">
          <ac:chgData name="BODNER Christoph" userId="0e348722-d6b4-4f3e-b89e-da69cac527be" providerId="ADAL" clId="{8CBD7C6F-09A6-420D-843B-EE128337AEDA}" dt="2018-10-08T19:55:44.347" v="4386" actId="1076"/>
          <ac:spMkLst>
            <pc:docMk/>
            <pc:sldMk cId="2059930779" sldId="599"/>
            <ac:spMk id="46" creationId="{5A91283C-C4FE-4D86-99A0-4C58220C240E}"/>
          </ac:spMkLst>
        </pc:spChg>
        <pc:spChg chg="add mod">
          <ac:chgData name="BODNER Christoph" userId="0e348722-d6b4-4f3e-b89e-da69cac527be" providerId="ADAL" clId="{8CBD7C6F-09A6-420D-843B-EE128337AEDA}" dt="2018-10-08T19:55:44.347" v="4386" actId="1076"/>
          <ac:spMkLst>
            <pc:docMk/>
            <pc:sldMk cId="2059930779" sldId="599"/>
            <ac:spMk id="49" creationId="{78288D24-AAB3-46E9-A288-A74BCF08BCD9}"/>
          </ac:spMkLst>
        </pc:spChg>
        <pc:spChg chg="add mod">
          <ac:chgData name="BODNER Christoph" userId="0e348722-d6b4-4f3e-b89e-da69cac527be" providerId="ADAL" clId="{8CBD7C6F-09A6-420D-843B-EE128337AEDA}" dt="2018-10-08T19:55:44.347" v="4386" actId="1076"/>
          <ac:spMkLst>
            <pc:docMk/>
            <pc:sldMk cId="2059930779" sldId="599"/>
            <ac:spMk id="54" creationId="{5F91BCE4-33E7-419D-8270-9C7CEC709C77}"/>
          </ac:spMkLst>
        </pc:spChg>
        <pc:spChg chg="add mod">
          <ac:chgData name="BODNER Christoph" userId="0e348722-d6b4-4f3e-b89e-da69cac527be" providerId="ADAL" clId="{8CBD7C6F-09A6-420D-843B-EE128337AEDA}" dt="2018-10-08T19:55:44.347" v="4386" actId="1076"/>
          <ac:spMkLst>
            <pc:docMk/>
            <pc:sldMk cId="2059930779" sldId="599"/>
            <ac:spMk id="55" creationId="{D2D63037-EBC3-47DF-B2AB-BC192DB4641A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56" creationId="{06092162-8B79-47F7-AB0B-DFA69E286E2D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57" creationId="{60736295-853B-4C18-B4B8-561992A17BC3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58" creationId="{7B49D8B3-8874-463F-912E-16246AB773F0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59" creationId="{A094EBF5-0008-4AAA-98A2-53979138DC79}"/>
          </ac:spMkLst>
        </pc:spChg>
        <pc:spChg chg="add del mod ord">
          <ac:chgData name="BODNER Christoph" userId="0e348722-d6b4-4f3e-b89e-da69cac527be" providerId="ADAL" clId="{8CBD7C6F-09A6-420D-843B-EE128337AEDA}" dt="2018-10-08T19:55:05.191" v="4368" actId="478"/>
          <ac:spMkLst>
            <pc:docMk/>
            <pc:sldMk cId="2059930779" sldId="599"/>
            <ac:spMk id="65" creationId="{A53287CE-BC33-430F-8929-68D69B6D704D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70" creationId="{AED53C3D-4EC7-4F36-A58A-65FF044ADAAE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71" creationId="{40416CD0-702B-4D02-8DBE-FA36D1B60517}"/>
          </ac:spMkLst>
        </pc:spChg>
        <pc:spChg chg="add mod or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72" creationId="{C2E3AD95-8940-403C-B5B7-B6707413AD31}"/>
          </ac:spMkLst>
        </pc:spChg>
        <pc:spChg chg="add mod">
          <ac:chgData name="BODNER Christoph" userId="0e348722-d6b4-4f3e-b89e-da69cac527be" providerId="ADAL" clId="{8CBD7C6F-09A6-420D-843B-EE128337AEDA}" dt="2018-10-09T06:06:56.675" v="5170" actId="1076"/>
          <ac:spMkLst>
            <pc:docMk/>
            <pc:sldMk cId="2059930779" sldId="599"/>
            <ac:spMk id="74" creationId="{D7DA8B1F-D84E-4ED2-A6B3-7BF2CE876DBB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75" creationId="{656EB8A5-D800-4AB5-916D-240BAEE5E38C}"/>
          </ac:spMkLst>
        </pc:spChg>
        <pc:spChg chg="add mod">
          <ac:chgData name="BODNER Christoph" userId="0e348722-d6b4-4f3e-b89e-da69cac527be" providerId="ADAL" clId="{8CBD7C6F-09A6-420D-843B-EE128337AEDA}" dt="2018-10-09T05:41:16.796" v="4456" actId="1036"/>
          <ac:spMkLst>
            <pc:docMk/>
            <pc:sldMk cId="2059930779" sldId="599"/>
            <ac:spMk id="78" creationId="{3F9ECC55-BA69-4CC1-86FC-AD2363C89A9E}"/>
          </ac:spMkLst>
        </pc:spChg>
        <pc:spChg chg="add mod">
          <ac:chgData name="BODNER Christoph" userId="0e348722-d6b4-4f3e-b89e-da69cac527be" providerId="ADAL" clId="{8CBD7C6F-09A6-420D-843B-EE128337AEDA}" dt="2018-10-09T05:41:49.210" v="4485" actId="1038"/>
          <ac:spMkLst>
            <pc:docMk/>
            <pc:sldMk cId="2059930779" sldId="599"/>
            <ac:spMk id="81" creationId="{FCBE27E9-E5C6-4620-9E86-5C2E422F2264}"/>
          </ac:spMkLst>
        </pc:spChg>
        <pc:picChg chg="del">
          <ac:chgData name="BODNER Christoph" userId="0e348722-d6b4-4f3e-b89e-da69cac527be" providerId="ADAL" clId="{8CBD7C6F-09A6-420D-843B-EE128337AEDA}" dt="2018-10-08T18:35:42.838" v="1216" actId="478"/>
          <ac:picMkLst>
            <pc:docMk/>
            <pc:sldMk cId="2059930779" sldId="599"/>
            <ac:picMk id="3" creationId="{A3A5EF7C-C414-452F-B7C1-E0DE247DD5CC}"/>
          </ac:picMkLst>
        </pc:picChg>
        <pc:picChg chg="add mod">
          <ac:chgData name="BODNER Christoph" userId="0e348722-d6b4-4f3e-b89e-da69cac527be" providerId="ADAL" clId="{8CBD7C6F-09A6-420D-843B-EE128337AEDA}" dt="2018-10-08T19:55:44.347" v="4386" actId="1076"/>
          <ac:picMkLst>
            <pc:docMk/>
            <pc:sldMk cId="2059930779" sldId="599"/>
            <ac:picMk id="5" creationId="{FA3CC14A-9CB2-4370-ADF4-9F7294BEBB29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9" creationId="{1F7F6975-5005-47FC-8971-A34B8655038B}"/>
          </ac:picMkLst>
        </pc:picChg>
        <pc:picChg chg="add mod">
          <ac:chgData name="BODNER Christoph" userId="0e348722-d6b4-4f3e-b89e-da69cac527be" providerId="ADAL" clId="{8CBD7C6F-09A6-420D-843B-EE128337AEDA}" dt="2018-10-08T19:55:44.347" v="4386" actId="1076"/>
          <ac:picMkLst>
            <pc:docMk/>
            <pc:sldMk cId="2059930779" sldId="599"/>
            <ac:picMk id="10" creationId="{2DE20832-50C2-4D26-BCC6-5F4F05106E23}"/>
          </ac:picMkLst>
        </pc:picChg>
        <pc:picChg chg="add mod">
          <ac:chgData name="BODNER Christoph" userId="0e348722-d6b4-4f3e-b89e-da69cac527be" providerId="ADAL" clId="{8CBD7C6F-09A6-420D-843B-EE128337AEDA}" dt="2018-10-09T05:41:42.781" v="4478" actId="1035"/>
          <ac:picMkLst>
            <pc:docMk/>
            <pc:sldMk cId="2059930779" sldId="599"/>
            <ac:picMk id="11" creationId="{7A46B7BE-A057-40FA-8E45-5A73C450C991}"/>
          </ac:picMkLst>
        </pc:picChg>
        <pc:picChg chg="add mod">
          <ac:chgData name="BODNER Christoph" userId="0e348722-d6b4-4f3e-b89e-da69cac527be" providerId="ADAL" clId="{8CBD7C6F-09A6-420D-843B-EE128337AEDA}" dt="2018-10-09T05:41:42.781" v="4478" actId="1035"/>
          <ac:picMkLst>
            <pc:docMk/>
            <pc:sldMk cId="2059930779" sldId="599"/>
            <ac:picMk id="12" creationId="{9D3CB1C5-01BB-45BB-9260-5B13591198F3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13" creationId="{F61811E5-7345-4E83-A6C8-2D1A38CDDBAF}"/>
          </ac:picMkLst>
        </pc:picChg>
        <pc:picChg chg="add del mod">
          <ac:chgData name="BODNER Christoph" userId="0e348722-d6b4-4f3e-b89e-da69cac527be" providerId="ADAL" clId="{8CBD7C6F-09A6-420D-843B-EE128337AEDA}" dt="2018-10-08T19:47:36.087" v="4060" actId="478"/>
          <ac:picMkLst>
            <pc:docMk/>
            <pc:sldMk cId="2059930779" sldId="599"/>
            <ac:picMk id="16" creationId="{15BCCD5A-9E96-4BD5-8B49-258A9C65B2E4}"/>
          </ac:picMkLst>
        </pc:picChg>
        <pc:picChg chg="add mod">
          <ac:chgData name="BODNER Christoph" userId="0e348722-d6b4-4f3e-b89e-da69cac527be" providerId="ADAL" clId="{8CBD7C6F-09A6-420D-843B-EE128337AEDA}" dt="2018-10-09T05:41:42.781" v="4478" actId="1035"/>
          <ac:picMkLst>
            <pc:docMk/>
            <pc:sldMk cId="2059930779" sldId="599"/>
            <ac:picMk id="20" creationId="{B1604469-419C-4A36-8C90-879E87F97171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29" creationId="{53750E05-BFE0-4C36-9B84-8EAB0F10A021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31" creationId="{537859EE-3215-4B2C-A353-96A7F105AE6D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32" creationId="{40DE0081-B53F-4BD7-AE85-7884F8689C4E}"/>
          </ac:picMkLst>
        </pc:picChg>
        <pc:picChg chg="add mod">
          <ac:chgData name="BODNER Christoph" userId="0e348722-d6b4-4f3e-b89e-da69cac527be" providerId="ADAL" clId="{8CBD7C6F-09A6-420D-843B-EE128337AEDA}" dt="2018-10-08T19:44:32.394" v="3978" actId="571"/>
          <ac:picMkLst>
            <pc:docMk/>
            <pc:sldMk cId="2059930779" sldId="599"/>
            <ac:picMk id="35" creationId="{99F89819-5DC1-4AB0-8982-8A93FFDCB1D8}"/>
          </ac:picMkLst>
        </pc:picChg>
        <pc:picChg chg="add mod">
          <ac:chgData name="BODNER Christoph" userId="0e348722-d6b4-4f3e-b89e-da69cac527be" providerId="ADAL" clId="{8CBD7C6F-09A6-420D-843B-EE128337AEDA}" dt="2018-10-09T12:53:08.894" v="7564" actId="1076"/>
          <ac:picMkLst>
            <pc:docMk/>
            <pc:sldMk cId="2059930779" sldId="599"/>
            <ac:picMk id="73" creationId="{D581B0AD-B7C5-4DC6-9A1C-785824C663B7}"/>
          </ac:picMkLst>
        </pc:picChg>
        <pc:picChg chg="add mod">
          <ac:chgData name="BODNER Christoph" userId="0e348722-d6b4-4f3e-b89e-da69cac527be" providerId="ADAL" clId="{8CBD7C6F-09A6-420D-843B-EE128337AEDA}" dt="2018-10-09T05:41:16.796" v="4456" actId="1036"/>
          <ac:picMkLst>
            <pc:docMk/>
            <pc:sldMk cId="2059930779" sldId="599"/>
            <ac:picMk id="77" creationId="{FC35A42D-A192-4240-827E-051CE4AFAD58}"/>
          </ac:picMkLst>
        </pc:picChg>
        <pc:picChg chg="add mod">
          <ac:chgData name="BODNER Christoph" userId="0e348722-d6b4-4f3e-b89e-da69cac527be" providerId="ADAL" clId="{8CBD7C6F-09A6-420D-843B-EE128337AEDA}" dt="2018-10-09T06:07:52.291" v="5177" actId="962"/>
          <ac:picMkLst>
            <pc:docMk/>
            <pc:sldMk cId="2059930779" sldId="599"/>
            <ac:picMk id="83" creationId="{42D6EDEF-9C0C-499D-BADC-CC5B6C74CC5F}"/>
          </ac:picMkLst>
        </pc:picChg>
        <pc:cxnChg chg="add del mod">
          <ac:chgData name="BODNER Christoph" userId="0e348722-d6b4-4f3e-b89e-da69cac527be" providerId="ADAL" clId="{8CBD7C6F-09A6-420D-843B-EE128337AEDA}" dt="2018-10-08T19:47:36.087" v="4060" actId="478"/>
          <ac:cxnSpMkLst>
            <pc:docMk/>
            <pc:sldMk cId="2059930779" sldId="599"/>
            <ac:cxnSpMk id="17" creationId="{A446B29B-1532-4C0F-9BB8-36CD0997DFC4}"/>
          </ac:cxnSpMkLst>
        </pc:cxnChg>
        <pc:cxnChg chg="add del mod">
          <ac:chgData name="BODNER Christoph" userId="0e348722-d6b4-4f3e-b89e-da69cac527be" providerId="ADAL" clId="{8CBD7C6F-09A6-420D-843B-EE128337AEDA}" dt="2018-10-08T19:47:25.425" v="4058" actId="478"/>
          <ac:cxnSpMkLst>
            <pc:docMk/>
            <pc:sldMk cId="2059930779" sldId="599"/>
            <ac:cxnSpMk id="40" creationId="{A9DDC5D6-5078-4372-AF75-10A96E0E0163}"/>
          </ac:cxnSpMkLst>
        </pc:cxnChg>
        <pc:cxnChg chg="add mod">
          <ac:chgData name="BODNER Christoph" userId="0e348722-d6b4-4f3e-b89e-da69cac527be" providerId="ADAL" clId="{8CBD7C6F-09A6-420D-843B-EE128337AEDA}" dt="2018-10-08T19:55:44.347" v="4386" actId="1076"/>
          <ac:cxnSpMkLst>
            <pc:docMk/>
            <pc:sldMk cId="2059930779" sldId="599"/>
            <ac:cxnSpMk id="41" creationId="{31E00824-7531-4894-98B7-1998FEEAE15E}"/>
          </ac:cxnSpMkLst>
        </pc:cxnChg>
        <pc:cxnChg chg="add mod">
          <ac:chgData name="BODNER Christoph" userId="0e348722-d6b4-4f3e-b89e-da69cac527be" providerId="ADAL" clId="{8CBD7C6F-09A6-420D-843B-EE128337AEDA}" dt="2018-10-08T19:55:44.347" v="4386" actId="1076"/>
          <ac:cxnSpMkLst>
            <pc:docMk/>
            <pc:sldMk cId="2059930779" sldId="599"/>
            <ac:cxnSpMk id="44" creationId="{88039FE1-D330-40FC-977D-5515BF2AF892}"/>
          </ac:cxnSpMkLst>
        </pc:cxnChg>
        <pc:cxnChg chg="add mod">
          <ac:chgData name="BODNER Christoph" userId="0e348722-d6b4-4f3e-b89e-da69cac527be" providerId="ADAL" clId="{8CBD7C6F-09A6-420D-843B-EE128337AEDA}" dt="2018-10-08T19:55:44.347" v="4386" actId="1076"/>
          <ac:cxnSpMkLst>
            <pc:docMk/>
            <pc:sldMk cId="2059930779" sldId="599"/>
            <ac:cxnSpMk id="50" creationId="{074ED7EC-8CD7-499C-93DC-A17AE9F590F1}"/>
          </ac:cxnSpMkLst>
        </pc:cxnChg>
        <pc:cxnChg chg="add mod">
          <ac:chgData name="BODNER Christoph" userId="0e348722-d6b4-4f3e-b89e-da69cac527be" providerId="ADAL" clId="{8CBD7C6F-09A6-420D-843B-EE128337AEDA}" dt="2018-10-08T19:55:52.485" v="4387" actId="14100"/>
          <ac:cxnSpMkLst>
            <pc:docMk/>
            <pc:sldMk cId="2059930779" sldId="599"/>
            <ac:cxnSpMk id="53" creationId="{503985EC-8144-4402-AF4D-5DEFAB59030B}"/>
          </ac:cxnSpMkLst>
        </pc:cxnChg>
        <pc:cxnChg chg="add del mod">
          <ac:chgData name="BODNER Christoph" userId="0e348722-d6b4-4f3e-b89e-da69cac527be" providerId="ADAL" clId="{8CBD7C6F-09A6-420D-843B-EE128337AEDA}" dt="2018-10-08T19:56:52.804" v="4408" actId="478"/>
          <ac:cxnSpMkLst>
            <pc:docMk/>
            <pc:sldMk cId="2059930779" sldId="599"/>
            <ac:cxnSpMk id="60" creationId="{4BC24235-1382-4AC5-9156-DB6391511D1D}"/>
          </ac:cxnSpMkLst>
        </pc:cxnChg>
        <pc:cxnChg chg="add mod">
          <ac:chgData name="BODNER Christoph" userId="0e348722-d6b4-4f3e-b89e-da69cac527be" providerId="ADAL" clId="{8CBD7C6F-09A6-420D-843B-EE128337AEDA}" dt="2018-10-09T05:41:16.796" v="4456" actId="1036"/>
          <ac:cxnSpMkLst>
            <pc:docMk/>
            <pc:sldMk cId="2059930779" sldId="599"/>
            <ac:cxnSpMk id="66" creationId="{16FD2250-54BD-4F93-9408-B28449067233}"/>
          </ac:cxnSpMkLst>
        </pc:cxnChg>
        <pc:cxnChg chg="add del mod">
          <ac:chgData name="BODNER Christoph" userId="0e348722-d6b4-4f3e-b89e-da69cac527be" providerId="ADAL" clId="{8CBD7C6F-09A6-420D-843B-EE128337AEDA}" dt="2018-10-08T19:53:38.578" v="4344" actId="478"/>
          <ac:cxnSpMkLst>
            <pc:docMk/>
            <pc:sldMk cId="2059930779" sldId="599"/>
            <ac:cxnSpMk id="67" creationId="{0C175EEB-5AE1-40EB-84A3-286F1CE5223C}"/>
          </ac:cxnSpMkLst>
        </pc:cxnChg>
        <pc:cxnChg chg="add mod">
          <ac:chgData name="BODNER Christoph" userId="0e348722-d6b4-4f3e-b89e-da69cac527be" providerId="ADAL" clId="{8CBD7C6F-09A6-420D-843B-EE128337AEDA}" dt="2018-10-09T05:41:16.796" v="4456" actId="1036"/>
          <ac:cxnSpMkLst>
            <pc:docMk/>
            <pc:sldMk cId="2059930779" sldId="599"/>
            <ac:cxnSpMk id="68" creationId="{11F92D7F-C022-4A87-982F-D91DDC5371D1}"/>
          </ac:cxnSpMkLst>
        </pc:cxnChg>
        <pc:cxnChg chg="add mod">
          <ac:chgData name="BODNER Christoph" userId="0e348722-d6b4-4f3e-b89e-da69cac527be" providerId="ADAL" clId="{8CBD7C6F-09A6-420D-843B-EE128337AEDA}" dt="2018-10-09T05:41:16.796" v="4456" actId="1036"/>
          <ac:cxnSpMkLst>
            <pc:docMk/>
            <pc:sldMk cId="2059930779" sldId="599"/>
            <ac:cxnSpMk id="69" creationId="{AB8D3516-E0FA-484A-8791-CDC950D99725}"/>
          </ac:cxnSpMkLst>
        </pc:cxnChg>
        <pc:cxnChg chg="add mod">
          <ac:chgData name="BODNER Christoph" userId="0e348722-d6b4-4f3e-b89e-da69cac527be" providerId="ADAL" clId="{8CBD7C6F-09A6-420D-843B-EE128337AEDA}" dt="2018-10-09T05:41:16.796" v="4456" actId="1036"/>
          <ac:cxnSpMkLst>
            <pc:docMk/>
            <pc:sldMk cId="2059930779" sldId="599"/>
            <ac:cxnSpMk id="76" creationId="{27F08053-9D2A-477E-BD91-3F723F4D0057}"/>
          </ac:cxnSpMkLst>
        </pc:cxnChg>
        <pc:cxnChg chg="add mod">
          <ac:chgData name="BODNER Christoph" userId="0e348722-d6b4-4f3e-b89e-da69cac527be" providerId="ADAL" clId="{8CBD7C6F-09A6-420D-843B-EE128337AEDA}" dt="2018-10-09T05:41:04.426" v="4441" actId="571"/>
          <ac:cxnSpMkLst>
            <pc:docMk/>
            <pc:sldMk cId="2059930779" sldId="599"/>
            <ac:cxnSpMk id="79" creationId="{EE97F52A-4145-4947-A0C6-BA0D47182048}"/>
          </ac:cxnSpMkLst>
        </pc:cxnChg>
        <pc:cxnChg chg="add mod">
          <ac:chgData name="BODNER Christoph" userId="0e348722-d6b4-4f3e-b89e-da69cac527be" providerId="ADAL" clId="{8CBD7C6F-09A6-420D-843B-EE128337AEDA}" dt="2018-10-09T05:41:07.214" v="4442" actId="571"/>
          <ac:cxnSpMkLst>
            <pc:docMk/>
            <pc:sldMk cId="2059930779" sldId="599"/>
            <ac:cxnSpMk id="80" creationId="{79F239CA-442E-434D-88AE-CD8B483ADE4E}"/>
          </ac:cxnSpMkLst>
        </pc:cxnChg>
        <pc:cxnChg chg="del mod">
          <ac:chgData name="BODNER Christoph" userId="0e348722-d6b4-4f3e-b89e-da69cac527be" providerId="ADAL" clId="{8CBD7C6F-09A6-420D-843B-EE128337AEDA}" dt="2018-10-09T06:45:54.456" v="5811" actId="478"/>
          <ac:cxnSpMkLst>
            <pc:docMk/>
            <pc:sldMk cId="2059930779" sldId="599"/>
            <ac:cxnSpMk id="120" creationId="{696C98D9-7B24-4A29-B61E-B31919C5D8E4}"/>
          </ac:cxnSpMkLst>
        </pc:cxnChg>
        <pc:cxnChg chg="del mod">
          <ac:chgData name="BODNER Christoph" userId="0e348722-d6b4-4f3e-b89e-da69cac527be" providerId="ADAL" clId="{8CBD7C6F-09A6-420D-843B-EE128337AEDA}" dt="2018-10-09T06:24:37.690" v="5251" actId="478"/>
          <ac:cxnSpMkLst>
            <pc:docMk/>
            <pc:sldMk cId="2059930779" sldId="599"/>
            <ac:cxnSpMk id="121" creationId="{A3B5A17C-95CE-4A9A-97EA-174D412003D7}"/>
          </ac:cxnSpMkLst>
        </pc:cxnChg>
        <pc:cxnChg chg="del mod">
          <ac:chgData name="BODNER Christoph" userId="0e348722-d6b4-4f3e-b89e-da69cac527be" providerId="ADAL" clId="{8CBD7C6F-09A6-420D-843B-EE128337AEDA}" dt="2018-10-09T06:45:56.707" v="5812" actId="478"/>
          <ac:cxnSpMkLst>
            <pc:docMk/>
            <pc:sldMk cId="2059930779" sldId="599"/>
            <ac:cxnSpMk id="122" creationId="{D6CE391A-7A80-4D5F-BC2E-D138D955CF7D}"/>
          </ac:cxnSpMkLst>
        </pc:cxnChg>
      </pc:sldChg>
      <pc:sldChg chg="addSp delSp modSp add">
        <pc:chgData name="BODNER Christoph" userId="0e348722-d6b4-4f3e-b89e-da69cac527be" providerId="ADAL" clId="{8CBD7C6F-09A6-420D-843B-EE128337AEDA}" dt="2018-10-09T07:12:33.360" v="6603" actId="20577"/>
        <pc:sldMkLst>
          <pc:docMk/>
          <pc:sldMk cId="2229015855" sldId="600"/>
        </pc:sldMkLst>
        <pc:spChg chg="add mod ord">
          <ac:chgData name="BODNER Christoph" userId="0e348722-d6b4-4f3e-b89e-da69cac527be" providerId="ADAL" clId="{8CBD7C6F-09A6-420D-843B-EE128337AEDA}" dt="2018-10-09T07:11:58.202" v="6563" actId="171"/>
          <ac:spMkLst>
            <pc:docMk/>
            <pc:sldMk cId="2229015855" sldId="600"/>
            <ac:spMk id="4" creationId="{FACA8F33-513E-4C13-89FE-0585D1AEEE6B}"/>
          </ac:spMkLst>
        </pc:spChg>
        <pc:spChg chg="del mod">
          <ac:chgData name="BODNER Christoph" userId="0e348722-d6b4-4f3e-b89e-da69cac527be" providerId="ADAL" clId="{8CBD7C6F-09A6-420D-843B-EE128337AEDA}" dt="2018-10-09T07:12:08.531" v="6564" actId="478"/>
          <ac:spMkLst>
            <pc:docMk/>
            <pc:sldMk cId="2229015855" sldId="600"/>
            <ac:spMk id="7" creationId="{2FCB992E-FEBA-441D-9E7D-73FF2FAE7020}"/>
          </ac:spMkLst>
        </pc:spChg>
        <pc:spChg chg="add mod">
          <ac:chgData name="BODNER Christoph" userId="0e348722-d6b4-4f3e-b89e-da69cac527be" providerId="ADAL" clId="{8CBD7C6F-09A6-420D-843B-EE128337AEDA}" dt="2018-10-09T07:03:57.302" v="5931" actId="5793"/>
          <ac:spMkLst>
            <pc:docMk/>
            <pc:sldMk cId="2229015855" sldId="600"/>
            <ac:spMk id="8" creationId="{D6917977-EA6D-4292-8928-2E1E83E39C47}"/>
          </ac:spMkLst>
        </pc:spChg>
        <pc:spChg chg="add mod">
          <ac:chgData name="BODNER Christoph" userId="0e348722-d6b4-4f3e-b89e-da69cac527be" providerId="ADAL" clId="{8CBD7C6F-09A6-420D-843B-EE128337AEDA}" dt="2018-10-09T07:04:41.882" v="6034" actId="20577"/>
          <ac:spMkLst>
            <pc:docMk/>
            <pc:sldMk cId="2229015855" sldId="600"/>
            <ac:spMk id="9" creationId="{C86406DA-BDDB-4252-AC6E-1086660B7FBF}"/>
          </ac:spMkLst>
        </pc:spChg>
        <pc:spChg chg="add mod">
          <ac:chgData name="BODNER Christoph" userId="0e348722-d6b4-4f3e-b89e-da69cac527be" providerId="ADAL" clId="{8CBD7C6F-09A6-420D-843B-EE128337AEDA}" dt="2018-10-09T07:10:11.077" v="6548" actId="1035"/>
          <ac:spMkLst>
            <pc:docMk/>
            <pc:sldMk cId="2229015855" sldId="600"/>
            <ac:spMk id="10" creationId="{75E70876-0A1F-4601-8B40-7AB67E3FB894}"/>
          </ac:spMkLst>
        </pc:spChg>
        <pc:spChg chg="add mod">
          <ac:chgData name="BODNER Christoph" userId="0e348722-d6b4-4f3e-b89e-da69cac527be" providerId="ADAL" clId="{8CBD7C6F-09A6-420D-843B-EE128337AEDA}" dt="2018-10-09T07:12:33.360" v="6603" actId="20577"/>
          <ac:spMkLst>
            <pc:docMk/>
            <pc:sldMk cId="2229015855" sldId="600"/>
            <ac:spMk id="11" creationId="{7A91D60A-2D5B-447E-9701-57F85CA9BAE8}"/>
          </ac:spMkLst>
        </pc:spChg>
        <pc:spChg chg="add mod">
          <ac:chgData name="BODNER Christoph" userId="0e348722-d6b4-4f3e-b89e-da69cac527be" providerId="ADAL" clId="{8CBD7C6F-09A6-420D-843B-EE128337AEDA}" dt="2018-10-09T07:10:38.918" v="6550" actId="1076"/>
          <ac:spMkLst>
            <pc:docMk/>
            <pc:sldMk cId="2229015855" sldId="600"/>
            <ac:spMk id="12" creationId="{046151FE-D4B7-45F7-AF8F-E63EF1E973BE}"/>
          </ac:spMkLst>
        </pc:spChg>
        <pc:spChg chg="mod">
          <ac:chgData name="BODNER Christoph" userId="0e348722-d6b4-4f3e-b89e-da69cac527be" providerId="ADAL" clId="{8CBD7C6F-09A6-420D-843B-EE128337AEDA}" dt="2018-10-08T18:43:56.707" v="1904" actId="20577"/>
          <ac:spMkLst>
            <pc:docMk/>
            <pc:sldMk cId="2229015855" sldId="600"/>
            <ac:spMk id="19" creationId="{ADC50D8E-9507-4319-9DB1-041128CAC99D}"/>
          </ac:spMkLst>
        </pc:spChg>
        <pc:spChg chg="mod">
          <ac:chgData name="BODNER Christoph" userId="0e348722-d6b4-4f3e-b89e-da69cac527be" providerId="ADAL" clId="{8CBD7C6F-09A6-420D-843B-EE128337AEDA}" dt="2018-10-08T18:45:49.382" v="2109" actId="20577"/>
          <ac:spMkLst>
            <pc:docMk/>
            <pc:sldMk cId="2229015855" sldId="600"/>
            <ac:spMk id="30" creationId="{64B1802F-7242-48B9-959C-BF6DC1BEB06F}"/>
          </ac:spMkLst>
        </pc:spChg>
        <pc:picChg chg="add">
          <ac:chgData name="BODNER Christoph" userId="0e348722-d6b4-4f3e-b89e-da69cac527be" providerId="ADAL" clId="{8CBD7C6F-09A6-420D-843B-EE128337AEDA}" dt="2018-10-09T07:11:41.665" v="6559"/>
          <ac:picMkLst>
            <pc:docMk/>
            <pc:sldMk cId="2229015855" sldId="600"/>
            <ac:picMk id="18" creationId="{112B7A69-B9FC-48D9-90CD-92D9F2BFB8C0}"/>
          </ac:picMkLst>
        </pc:picChg>
        <pc:cxnChg chg="add mod ord">
          <ac:chgData name="BODNER Christoph" userId="0e348722-d6b4-4f3e-b89e-da69cac527be" providerId="ADAL" clId="{8CBD7C6F-09A6-420D-843B-EE128337AEDA}" dt="2018-10-09T07:11:01.629" v="6554" actId="167"/>
          <ac:cxnSpMkLst>
            <pc:docMk/>
            <pc:sldMk cId="2229015855" sldId="600"/>
            <ac:cxnSpMk id="3" creationId="{3A5CEE54-7CE4-403F-A94E-FE5F0034F3D5}"/>
          </ac:cxnSpMkLst>
        </pc:cxnChg>
        <pc:cxnChg chg="add mod ord">
          <ac:chgData name="BODNER Christoph" userId="0e348722-d6b4-4f3e-b89e-da69cac527be" providerId="ADAL" clId="{8CBD7C6F-09A6-420D-843B-EE128337AEDA}" dt="2018-10-09T07:11:35.435" v="6558" actId="167"/>
          <ac:cxnSpMkLst>
            <pc:docMk/>
            <pc:sldMk cId="2229015855" sldId="600"/>
            <ac:cxnSpMk id="15" creationId="{4DA02C75-39C4-4C4A-8C9F-28A585DDA851}"/>
          </ac:cxnSpMkLst>
        </pc:cxnChg>
        <pc:cxnChg chg="add mod ord">
          <ac:chgData name="BODNER Christoph" userId="0e348722-d6b4-4f3e-b89e-da69cac527be" providerId="ADAL" clId="{8CBD7C6F-09A6-420D-843B-EE128337AEDA}" dt="2018-10-09T07:11:35.435" v="6558" actId="167"/>
          <ac:cxnSpMkLst>
            <pc:docMk/>
            <pc:sldMk cId="2229015855" sldId="600"/>
            <ac:cxnSpMk id="16" creationId="{E38C57F8-2359-4614-8F8C-F767608554EF}"/>
          </ac:cxnSpMkLst>
        </pc:cxnChg>
        <pc:cxnChg chg="add mod ord">
          <ac:chgData name="BODNER Christoph" userId="0e348722-d6b4-4f3e-b89e-da69cac527be" providerId="ADAL" clId="{8CBD7C6F-09A6-420D-843B-EE128337AEDA}" dt="2018-10-09T07:11:35.435" v="6558" actId="167"/>
          <ac:cxnSpMkLst>
            <pc:docMk/>
            <pc:sldMk cId="2229015855" sldId="600"/>
            <ac:cxnSpMk id="17" creationId="{4121D3FD-407E-43D7-BE7A-278EB2FA0770}"/>
          </ac:cxnSpMkLst>
        </pc:cxnChg>
        <pc:cxnChg chg="del">
          <ac:chgData name="BODNER Christoph" userId="0e348722-d6b4-4f3e-b89e-da69cac527be" providerId="ADAL" clId="{8CBD7C6F-09A6-420D-843B-EE128337AEDA}" dt="2018-10-09T06:40:01.460" v="5805" actId="478"/>
          <ac:cxnSpMkLst>
            <pc:docMk/>
            <pc:sldMk cId="2229015855" sldId="600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39:51.934" v="5804" actId="478"/>
          <ac:cxnSpMkLst>
            <pc:docMk/>
            <pc:sldMk cId="2229015855" sldId="600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6:40:03.234" v="5806" actId="478"/>
          <ac:cxnSpMkLst>
            <pc:docMk/>
            <pc:sldMk cId="2229015855" sldId="600"/>
            <ac:cxnSpMk id="122" creationId="{D6CE391A-7A80-4D5F-BC2E-D138D955CF7D}"/>
          </ac:cxnSpMkLst>
        </pc:cxnChg>
      </pc:sldChg>
      <pc:sldChg chg="add del">
        <pc:chgData name="BODNER Christoph" userId="0e348722-d6b4-4f3e-b89e-da69cac527be" providerId="ADAL" clId="{8CBD7C6F-09A6-420D-843B-EE128337AEDA}" dt="2018-10-08T18:43:45.033" v="1880"/>
        <pc:sldMkLst>
          <pc:docMk/>
          <pc:sldMk cId="4036356038" sldId="600"/>
        </pc:sldMkLst>
      </pc:sldChg>
      <pc:sldChg chg="add del">
        <pc:chgData name="BODNER Christoph" userId="0e348722-d6b4-4f3e-b89e-da69cac527be" providerId="ADAL" clId="{8CBD7C6F-09A6-420D-843B-EE128337AEDA}" dt="2018-10-08T19:06:56.813" v="2968" actId="2696"/>
        <pc:sldMkLst>
          <pc:docMk/>
          <pc:sldMk cId="1627032395" sldId="601"/>
        </pc:sldMkLst>
      </pc:sldChg>
      <pc:sldChg chg="delSp add del">
        <pc:chgData name="BODNER Christoph" userId="0e348722-d6b4-4f3e-b89e-da69cac527be" providerId="ADAL" clId="{8CBD7C6F-09A6-420D-843B-EE128337AEDA}" dt="2018-10-08T18:46:26.014" v="2113" actId="2696"/>
        <pc:sldMkLst>
          <pc:docMk/>
          <pc:sldMk cId="1260621617" sldId="602"/>
        </pc:sldMkLst>
        <pc:spChg chg="del">
          <ac:chgData name="BODNER Christoph" userId="0e348722-d6b4-4f3e-b89e-da69cac527be" providerId="ADAL" clId="{8CBD7C6F-09A6-420D-843B-EE128337AEDA}" dt="2018-10-08T18:46:19.349" v="2112"/>
          <ac:spMkLst>
            <pc:docMk/>
            <pc:sldMk cId="1260621617" sldId="602"/>
            <ac:spMk id="3" creationId="{0723F634-4111-4B65-B9D0-88EC4C0034C7}"/>
          </ac:spMkLst>
        </pc:spChg>
        <pc:spChg chg="del">
          <ac:chgData name="BODNER Christoph" userId="0e348722-d6b4-4f3e-b89e-da69cac527be" providerId="ADAL" clId="{8CBD7C6F-09A6-420D-843B-EE128337AEDA}" dt="2018-10-08T18:46:19.349" v="2112"/>
          <ac:spMkLst>
            <pc:docMk/>
            <pc:sldMk cId="1260621617" sldId="602"/>
            <ac:spMk id="5" creationId="{5B49D8A6-1774-4F8B-B305-116D7A2D43AC}"/>
          </ac:spMkLst>
        </pc:spChg>
        <pc:spChg chg="del">
          <ac:chgData name="BODNER Christoph" userId="0e348722-d6b4-4f3e-b89e-da69cac527be" providerId="ADAL" clId="{8CBD7C6F-09A6-420D-843B-EE128337AEDA}" dt="2018-10-08T18:46:19.349" v="2112"/>
          <ac:spMkLst>
            <pc:docMk/>
            <pc:sldMk cId="1260621617" sldId="602"/>
            <ac:spMk id="6" creationId="{897C8646-4088-417A-9CDB-03C6EAC3D998}"/>
          </ac:spMkLst>
        </pc:spChg>
      </pc:sldChg>
      <pc:sldChg chg="addSp delSp modSp add">
        <pc:chgData name="BODNER Christoph" userId="0e348722-d6b4-4f3e-b89e-da69cac527be" providerId="ADAL" clId="{8CBD7C6F-09A6-420D-843B-EE128337AEDA}" dt="2018-10-08T18:59:07.265" v="2378" actId="403"/>
        <pc:sldMkLst>
          <pc:docMk/>
          <pc:sldMk cId="1937421615" sldId="654"/>
        </pc:sldMkLst>
        <pc:spChg chg="add del mod">
          <ac:chgData name="BODNER Christoph" userId="0e348722-d6b4-4f3e-b89e-da69cac527be" providerId="ADAL" clId="{8CBD7C6F-09A6-420D-843B-EE128337AEDA}" dt="2018-10-08T18:50:08.971" v="2197" actId="478"/>
          <ac:spMkLst>
            <pc:docMk/>
            <pc:sldMk cId="1937421615" sldId="654"/>
            <ac:spMk id="3" creationId="{F5EEECA5-4CF4-47C3-8E78-376D81A38C7F}"/>
          </ac:spMkLst>
        </pc:spChg>
        <pc:spChg chg="add mod">
          <ac:chgData name="BODNER Christoph" userId="0e348722-d6b4-4f3e-b89e-da69cac527be" providerId="ADAL" clId="{8CBD7C6F-09A6-420D-843B-EE128337AEDA}" dt="2018-10-08T18:59:07.265" v="2378" actId="403"/>
          <ac:spMkLst>
            <pc:docMk/>
            <pc:sldMk cId="1937421615" sldId="654"/>
            <ac:spMk id="5" creationId="{29886B33-75CE-4E24-9B60-028E84DCD803}"/>
          </ac:spMkLst>
        </pc:spChg>
        <pc:spChg chg="add mod">
          <ac:chgData name="BODNER Christoph" userId="0e348722-d6b4-4f3e-b89e-da69cac527be" providerId="ADAL" clId="{8CBD7C6F-09A6-420D-843B-EE128337AEDA}" dt="2018-10-08T18:59:07.265" v="2378" actId="403"/>
          <ac:spMkLst>
            <pc:docMk/>
            <pc:sldMk cId="1937421615" sldId="654"/>
            <ac:spMk id="6" creationId="{001EEBEA-7150-4C83-970D-A1292996E295}"/>
          </ac:spMkLst>
        </pc:spChg>
        <pc:spChg chg="add mod">
          <ac:chgData name="BODNER Christoph" userId="0e348722-d6b4-4f3e-b89e-da69cac527be" providerId="ADAL" clId="{8CBD7C6F-09A6-420D-843B-EE128337AEDA}" dt="2018-10-08T18:59:07.265" v="2378" actId="403"/>
          <ac:spMkLst>
            <pc:docMk/>
            <pc:sldMk cId="1937421615" sldId="654"/>
            <ac:spMk id="7" creationId="{040D820D-4FF7-4F58-82E8-7F14B08E2ACC}"/>
          </ac:spMkLst>
        </pc:spChg>
        <pc:spChg chg="del mod ord">
          <ac:chgData name="BODNER Christoph" userId="0e348722-d6b4-4f3e-b89e-da69cac527be" providerId="ADAL" clId="{8CBD7C6F-09A6-420D-843B-EE128337AEDA}" dt="2018-10-08T18:58:47.974" v="2372" actId="478"/>
          <ac:spMkLst>
            <pc:docMk/>
            <pc:sldMk cId="1937421615" sldId="654"/>
            <ac:spMk id="8" creationId="{0D2763C5-F3F3-45EC-AC69-C5CC64E03C41}"/>
          </ac:spMkLst>
        </pc:spChg>
        <pc:spChg chg="add del mod ord">
          <ac:chgData name="BODNER Christoph" userId="0e348722-d6b4-4f3e-b89e-da69cac527be" providerId="ADAL" clId="{8CBD7C6F-09A6-420D-843B-EE128337AEDA}" dt="2018-10-08T18:56:24.748" v="2310" actId="478"/>
          <ac:spMkLst>
            <pc:docMk/>
            <pc:sldMk cId="1937421615" sldId="654"/>
            <ac:spMk id="13" creationId="{93C86347-1978-421A-8656-1F60E1A35F9A}"/>
          </ac:spMkLst>
        </pc:spChg>
        <pc:spChg chg="add mod">
          <ac:chgData name="BODNER Christoph" userId="0e348722-d6b4-4f3e-b89e-da69cac527be" providerId="ADAL" clId="{8CBD7C6F-09A6-420D-843B-EE128337AEDA}" dt="2018-10-08T18:59:07.265" v="2378" actId="403"/>
          <ac:spMkLst>
            <pc:docMk/>
            <pc:sldMk cId="1937421615" sldId="654"/>
            <ac:spMk id="16" creationId="{391D05AE-EB62-42A5-B25F-7E6FF117E114}"/>
          </ac:spMkLst>
        </pc:spChg>
        <pc:spChg chg="add mod">
          <ac:chgData name="BODNER Christoph" userId="0e348722-d6b4-4f3e-b89e-da69cac527be" providerId="ADAL" clId="{8CBD7C6F-09A6-420D-843B-EE128337AEDA}" dt="2018-10-08T18:59:07.265" v="2378" actId="403"/>
          <ac:spMkLst>
            <pc:docMk/>
            <pc:sldMk cId="1937421615" sldId="654"/>
            <ac:spMk id="17" creationId="{4522C979-8E5A-4AC7-9838-465B0A4271E2}"/>
          </ac:spMkLst>
        </pc:spChg>
        <pc:picChg chg="ord">
          <ac:chgData name="BODNER Christoph" userId="0e348722-d6b4-4f3e-b89e-da69cac527be" providerId="ADAL" clId="{8CBD7C6F-09A6-420D-843B-EE128337AEDA}" dt="2018-10-08T18:50:02.536" v="2195" actId="167"/>
          <ac:picMkLst>
            <pc:docMk/>
            <pc:sldMk cId="1937421615" sldId="654"/>
            <ac:picMk id="9" creationId="{EC09FDC1-624E-4A96-961F-69EAD519CB56}"/>
          </ac:picMkLst>
        </pc:picChg>
        <pc:picChg chg="add del mod">
          <ac:chgData name="BODNER Christoph" userId="0e348722-d6b4-4f3e-b89e-da69cac527be" providerId="ADAL" clId="{8CBD7C6F-09A6-420D-843B-EE128337AEDA}" dt="2018-10-08T18:55:19.798" v="2299" actId="478"/>
          <ac:picMkLst>
            <pc:docMk/>
            <pc:sldMk cId="1937421615" sldId="654"/>
            <ac:picMk id="10" creationId="{20B9F51D-D38A-4FE0-AEE6-4D4C97C717B7}"/>
          </ac:picMkLst>
        </pc:picChg>
        <pc:picChg chg="del">
          <ac:chgData name="BODNER Christoph" userId="0e348722-d6b4-4f3e-b89e-da69cac527be" providerId="ADAL" clId="{8CBD7C6F-09A6-420D-843B-EE128337AEDA}" dt="2018-10-08T18:50:03.927" v="2196" actId="478"/>
          <ac:picMkLst>
            <pc:docMk/>
            <pc:sldMk cId="1937421615" sldId="654"/>
            <ac:picMk id="11" creationId="{AE6DCB75-6E1E-436A-8033-3A4F83E6713E}"/>
          </ac:picMkLst>
        </pc:picChg>
        <pc:picChg chg="add mod ord modCrop">
          <ac:chgData name="BODNER Christoph" userId="0e348722-d6b4-4f3e-b89e-da69cac527be" providerId="ADAL" clId="{8CBD7C6F-09A6-420D-843B-EE128337AEDA}" dt="2018-10-08T18:56:08.801" v="2308" actId="732"/>
          <ac:picMkLst>
            <pc:docMk/>
            <pc:sldMk cId="1937421615" sldId="654"/>
            <ac:picMk id="12" creationId="{2351A5E5-D34C-485A-AD89-6474C603DBB3}"/>
          </ac:picMkLst>
        </pc:picChg>
        <pc:picChg chg="add del mod">
          <ac:chgData name="BODNER Christoph" userId="0e348722-d6b4-4f3e-b89e-da69cac527be" providerId="ADAL" clId="{8CBD7C6F-09A6-420D-843B-EE128337AEDA}" dt="2018-10-08T18:56:46.111" v="2313" actId="478"/>
          <ac:picMkLst>
            <pc:docMk/>
            <pc:sldMk cId="1937421615" sldId="654"/>
            <ac:picMk id="14" creationId="{A72D53AC-31BB-4F90-B16A-13E8AFD97BAA}"/>
          </ac:picMkLst>
        </pc:picChg>
        <pc:picChg chg="add del">
          <ac:chgData name="BODNER Christoph" userId="0e348722-d6b4-4f3e-b89e-da69cac527be" providerId="ADAL" clId="{8CBD7C6F-09A6-420D-843B-EE128337AEDA}" dt="2018-10-08T18:58:48.887" v="2373" actId="478"/>
          <ac:picMkLst>
            <pc:docMk/>
            <pc:sldMk cId="1937421615" sldId="654"/>
            <ac:picMk id="15" creationId="{3F053E3A-BF7B-40E4-85C7-68E55719FF69}"/>
          </ac:picMkLst>
        </pc:picChg>
      </pc:sldChg>
      <pc:sldChg chg="add">
        <pc:chgData name="BODNER Christoph" userId="0e348722-d6b4-4f3e-b89e-da69cac527be" providerId="ADAL" clId="{8CBD7C6F-09A6-420D-843B-EE128337AEDA}" dt="2018-10-08T18:47:39.157" v="2133"/>
        <pc:sldMkLst>
          <pc:docMk/>
          <pc:sldMk cId="2611359891" sldId="964"/>
        </pc:sldMkLst>
      </pc:sldChg>
      <pc:sldChg chg="addSp delSp modSp add">
        <pc:chgData name="BODNER Christoph" userId="0e348722-d6b4-4f3e-b89e-da69cac527be" providerId="ADAL" clId="{8CBD7C6F-09A6-420D-843B-EE128337AEDA}" dt="2018-10-08T18:59:50.045" v="2406" actId="1076"/>
        <pc:sldMkLst>
          <pc:docMk/>
          <pc:sldMk cId="1956076284" sldId="965"/>
        </pc:sldMkLst>
        <pc:spChg chg="add mod">
          <ac:chgData name="BODNER Christoph" userId="0e348722-d6b4-4f3e-b89e-da69cac527be" providerId="ADAL" clId="{8CBD7C6F-09A6-420D-843B-EE128337AEDA}" dt="2018-10-08T18:59:50.045" v="2406" actId="1076"/>
          <ac:spMkLst>
            <pc:docMk/>
            <pc:sldMk cId="1956076284" sldId="965"/>
            <ac:spMk id="6" creationId="{0EB68E87-FADB-4C32-BA31-023F12605D7F}"/>
          </ac:spMkLst>
        </pc:spChg>
        <pc:spChg chg="add mod">
          <ac:chgData name="BODNER Christoph" userId="0e348722-d6b4-4f3e-b89e-da69cac527be" providerId="ADAL" clId="{8CBD7C6F-09A6-420D-843B-EE128337AEDA}" dt="2018-10-08T18:59:50.045" v="2406" actId="1076"/>
          <ac:spMkLst>
            <pc:docMk/>
            <pc:sldMk cId="1956076284" sldId="965"/>
            <ac:spMk id="7" creationId="{4482123C-814F-4158-91C7-C30CCC4F7D14}"/>
          </ac:spMkLst>
        </pc:spChg>
        <pc:spChg chg="del mod">
          <ac:chgData name="BODNER Christoph" userId="0e348722-d6b4-4f3e-b89e-da69cac527be" providerId="ADAL" clId="{8CBD7C6F-09A6-420D-843B-EE128337AEDA}" dt="2018-10-08T18:59:20.675" v="2379" actId="478"/>
          <ac:spMkLst>
            <pc:docMk/>
            <pc:sldMk cId="1956076284" sldId="965"/>
            <ac:spMk id="8" creationId="{0D2763C5-F3F3-45EC-AC69-C5CC64E03C41}"/>
          </ac:spMkLst>
        </pc:spChg>
        <pc:spChg chg="add mod">
          <ac:chgData name="BODNER Christoph" userId="0e348722-d6b4-4f3e-b89e-da69cac527be" providerId="ADAL" clId="{8CBD7C6F-09A6-420D-843B-EE128337AEDA}" dt="2018-10-08T18:59:50.045" v="2406" actId="1076"/>
          <ac:spMkLst>
            <pc:docMk/>
            <pc:sldMk cId="1956076284" sldId="965"/>
            <ac:spMk id="10" creationId="{FFDF2991-13F9-4AE8-A49A-F2406C531BB6}"/>
          </ac:spMkLst>
        </pc:spChg>
        <pc:spChg chg="add mod">
          <ac:chgData name="BODNER Christoph" userId="0e348722-d6b4-4f3e-b89e-da69cac527be" providerId="ADAL" clId="{8CBD7C6F-09A6-420D-843B-EE128337AEDA}" dt="2018-10-08T18:59:50.045" v="2406" actId="1076"/>
          <ac:spMkLst>
            <pc:docMk/>
            <pc:sldMk cId="1956076284" sldId="965"/>
            <ac:spMk id="11" creationId="{91D1BF8A-2F1F-4069-AB1D-555E74806168}"/>
          </ac:spMkLst>
        </pc:spChg>
        <pc:spChg chg="add mod">
          <ac:chgData name="BODNER Christoph" userId="0e348722-d6b4-4f3e-b89e-da69cac527be" providerId="ADAL" clId="{8CBD7C6F-09A6-420D-843B-EE128337AEDA}" dt="2018-10-08T18:59:50.045" v="2406" actId="1076"/>
          <ac:spMkLst>
            <pc:docMk/>
            <pc:sldMk cId="1956076284" sldId="965"/>
            <ac:spMk id="12" creationId="{47215201-4BC9-420A-8E62-3C35D4BA10EE}"/>
          </ac:spMkLst>
        </pc:spChg>
        <pc:spChg chg="add del mod">
          <ac:chgData name="BODNER Christoph" userId="0e348722-d6b4-4f3e-b89e-da69cac527be" providerId="ADAL" clId="{8CBD7C6F-09A6-420D-843B-EE128337AEDA}" dt="2018-10-08T18:56:22.961" v="2309" actId="478"/>
          <ac:spMkLst>
            <pc:docMk/>
            <pc:sldMk cId="1956076284" sldId="965"/>
            <ac:spMk id="13" creationId="{93C86347-1978-421A-8656-1F60E1A35F9A}"/>
          </ac:spMkLst>
        </pc:spChg>
      </pc:sldChg>
      <pc:sldChg chg="delSp modSp add del">
        <pc:chgData name="BODNER Christoph" userId="0e348722-d6b4-4f3e-b89e-da69cac527be" providerId="ADAL" clId="{8CBD7C6F-09A6-420D-843B-EE128337AEDA}" dt="2018-10-08T18:49:38.139" v="2190" actId="2696"/>
        <pc:sldMkLst>
          <pc:docMk/>
          <pc:sldMk cId="4092883535" sldId="965"/>
        </pc:sldMkLst>
        <pc:spChg chg="del">
          <ac:chgData name="BODNER Christoph" userId="0e348722-d6b4-4f3e-b89e-da69cac527be" providerId="ADAL" clId="{8CBD7C6F-09A6-420D-843B-EE128337AEDA}" dt="2018-10-08T18:48:57.381" v="2179" actId="478"/>
          <ac:spMkLst>
            <pc:docMk/>
            <pc:sldMk cId="4092883535" sldId="965"/>
            <ac:spMk id="2" creationId="{BA9B7879-C1EB-4051-B310-3888237201C0}"/>
          </ac:spMkLst>
        </pc:spChg>
        <pc:spChg chg="del">
          <ac:chgData name="BODNER Christoph" userId="0e348722-d6b4-4f3e-b89e-da69cac527be" providerId="ADAL" clId="{8CBD7C6F-09A6-420D-843B-EE128337AEDA}" dt="2018-10-08T18:48:58.711" v="2180" actId="478"/>
          <ac:spMkLst>
            <pc:docMk/>
            <pc:sldMk cId="4092883535" sldId="965"/>
            <ac:spMk id="3" creationId="{9E39009F-9919-4178-8917-32F9D84E40F7}"/>
          </ac:spMkLst>
        </pc:spChg>
        <pc:spChg chg="del">
          <ac:chgData name="BODNER Christoph" userId="0e348722-d6b4-4f3e-b89e-da69cac527be" providerId="ADAL" clId="{8CBD7C6F-09A6-420D-843B-EE128337AEDA}" dt="2018-10-08T18:48:54.448" v="2176" actId="478"/>
          <ac:spMkLst>
            <pc:docMk/>
            <pc:sldMk cId="4092883535" sldId="965"/>
            <ac:spMk id="6" creationId="{A427A86C-0D4F-4B23-9FF4-3A91068F8EF2}"/>
          </ac:spMkLst>
        </pc:spChg>
        <pc:spChg chg="del">
          <ac:chgData name="BODNER Christoph" userId="0e348722-d6b4-4f3e-b89e-da69cac527be" providerId="ADAL" clId="{8CBD7C6F-09A6-420D-843B-EE128337AEDA}" dt="2018-10-08T18:48:55.832" v="2177" actId="478"/>
          <ac:spMkLst>
            <pc:docMk/>
            <pc:sldMk cId="4092883535" sldId="965"/>
            <ac:spMk id="7" creationId="{F445735D-7191-4B22-BE7F-D985BC29FBDE}"/>
          </ac:spMkLst>
        </pc:spChg>
        <pc:spChg chg="del">
          <ac:chgData name="BODNER Christoph" userId="0e348722-d6b4-4f3e-b89e-da69cac527be" providerId="ADAL" clId="{8CBD7C6F-09A6-420D-843B-EE128337AEDA}" dt="2018-10-08T18:48:56.645" v="2178" actId="478"/>
          <ac:spMkLst>
            <pc:docMk/>
            <pc:sldMk cId="4092883535" sldId="965"/>
            <ac:spMk id="8" creationId="{60A2BFF3-23A1-43BD-AA55-80F434A4C9E9}"/>
          </ac:spMkLst>
        </pc:spChg>
        <pc:picChg chg="del">
          <ac:chgData name="BODNER Christoph" userId="0e348722-d6b4-4f3e-b89e-da69cac527be" providerId="ADAL" clId="{8CBD7C6F-09A6-420D-843B-EE128337AEDA}" dt="2018-10-08T18:49:25.147" v="2189" actId="478"/>
          <ac:picMkLst>
            <pc:docMk/>
            <pc:sldMk cId="4092883535" sldId="965"/>
            <ac:picMk id="14" creationId="{114A4049-18ED-48A7-8EAC-C90CC2392AA9}"/>
          </ac:picMkLst>
        </pc:picChg>
        <pc:picChg chg="mod">
          <ac:chgData name="BODNER Christoph" userId="0e348722-d6b4-4f3e-b89e-da69cac527be" providerId="ADAL" clId="{8CBD7C6F-09A6-420D-843B-EE128337AEDA}" dt="2018-10-08T18:49:23.455" v="2188" actId="1076"/>
          <ac:picMkLst>
            <pc:docMk/>
            <pc:sldMk cId="4092883535" sldId="965"/>
            <ac:picMk id="15" creationId="{FF809E9E-1C99-4A7B-9003-9BD85CF05305}"/>
          </ac:picMkLst>
        </pc:picChg>
        <pc:picChg chg="del mod">
          <ac:chgData name="BODNER Christoph" userId="0e348722-d6b4-4f3e-b89e-da69cac527be" providerId="ADAL" clId="{8CBD7C6F-09A6-420D-843B-EE128337AEDA}" dt="2018-10-08T18:49:08.807" v="2183" actId="478"/>
          <ac:picMkLst>
            <pc:docMk/>
            <pc:sldMk cId="4092883535" sldId="965"/>
            <ac:picMk id="13316" creationId="{B2892037-F0D6-4B21-9CBF-1902D1E5A3AE}"/>
          </ac:picMkLst>
        </pc:picChg>
      </pc:sldChg>
      <pc:sldChg chg="addSp delSp modSp add modAnim">
        <pc:chgData name="BODNER Christoph" userId="0e348722-d6b4-4f3e-b89e-da69cac527be" providerId="ADAL" clId="{8CBD7C6F-09A6-420D-843B-EE128337AEDA}" dt="2018-10-09T07:21:40.408" v="7391"/>
        <pc:sldMkLst>
          <pc:docMk/>
          <pc:sldMk cId="2694831885" sldId="966"/>
        </pc:sldMkLst>
        <pc:spChg chg="mod">
          <ac:chgData name="BODNER Christoph" userId="0e348722-d6b4-4f3e-b89e-da69cac527be" providerId="ADAL" clId="{8CBD7C6F-09A6-420D-843B-EE128337AEDA}" dt="2018-10-09T07:20:00.774" v="7323" actId="790"/>
          <ac:spMkLst>
            <pc:docMk/>
            <pc:sldMk cId="2694831885" sldId="966"/>
            <ac:spMk id="7" creationId="{2FCB992E-FEBA-441D-9E7D-73FF2FAE7020}"/>
          </ac:spMkLst>
        </pc:spChg>
        <pc:spChg chg="add mod">
          <ac:chgData name="BODNER Christoph" userId="0e348722-d6b4-4f3e-b89e-da69cac527be" providerId="ADAL" clId="{8CBD7C6F-09A6-420D-843B-EE128337AEDA}" dt="2018-10-09T07:14:27.135" v="6670" actId="20577"/>
          <ac:spMkLst>
            <pc:docMk/>
            <pc:sldMk cId="2694831885" sldId="966"/>
            <ac:spMk id="8" creationId="{390691FF-E43C-432F-A55D-262B60AECDF6}"/>
          </ac:spMkLst>
        </pc:spChg>
        <pc:spChg chg="add mod">
          <ac:chgData name="BODNER Christoph" userId="0e348722-d6b4-4f3e-b89e-da69cac527be" providerId="ADAL" clId="{8CBD7C6F-09A6-420D-843B-EE128337AEDA}" dt="2018-10-09T07:15:45.539" v="6782" actId="20577"/>
          <ac:spMkLst>
            <pc:docMk/>
            <pc:sldMk cId="2694831885" sldId="966"/>
            <ac:spMk id="9" creationId="{E4752E41-D51B-483D-9971-FF9322C03615}"/>
          </ac:spMkLst>
        </pc:spChg>
        <pc:spChg chg="add mod">
          <ac:chgData name="BODNER Christoph" userId="0e348722-d6b4-4f3e-b89e-da69cac527be" providerId="ADAL" clId="{8CBD7C6F-09A6-420D-843B-EE128337AEDA}" dt="2018-10-09T07:20:00.774" v="7323" actId="790"/>
          <ac:spMkLst>
            <pc:docMk/>
            <pc:sldMk cId="2694831885" sldId="966"/>
            <ac:spMk id="10" creationId="{F20949BF-8DEE-4CC5-8DC6-75445DEE4988}"/>
          </ac:spMkLst>
        </pc:spChg>
        <pc:spChg chg="add mod">
          <ac:chgData name="BODNER Christoph" userId="0e348722-d6b4-4f3e-b89e-da69cac527be" providerId="ADAL" clId="{8CBD7C6F-09A6-420D-843B-EE128337AEDA}" dt="2018-10-09T07:21:35.046" v="7390" actId="1076"/>
          <ac:spMkLst>
            <pc:docMk/>
            <pc:sldMk cId="2694831885" sldId="966"/>
            <ac:spMk id="11" creationId="{C7EB7656-2479-44DD-9A13-0DA5EBE56DD0}"/>
          </ac:spMkLst>
        </pc:spChg>
        <pc:spChg chg="mod">
          <ac:chgData name="BODNER Christoph" userId="0e348722-d6b4-4f3e-b89e-da69cac527be" providerId="ADAL" clId="{8CBD7C6F-09A6-420D-843B-EE128337AEDA}" dt="2018-10-08T19:00:20.962" v="2446" actId="20577"/>
          <ac:spMkLst>
            <pc:docMk/>
            <pc:sldMk cId="2694831885" sldId="966"/>
            <ac:spMk id="19" creationId="{ADC50D8E-9507-4319-9DB1-041128CAC99D}"/>
          </ac:spMkLst>
        </pc:spChg>
        <pc:spChg chg="mod">
          <ac:chgData name="BODNER Christoph" userId="0e348722-d6b4-4f3e-b89e-da69cac527be" providerId="ADAL" clId="{8CBD7C6F-09A6-420D-843B-EE128337AEDA}" dt="2018-10-08T19:00:31.800" v="2464" actId="20577"/>
          <ac:spMkLst>
            <pc:docMk/>
            <pc:sldMk cId="2694831885" sldId="966"/>
            <ac:spMk id="30" creationId="{64B1802F-7242-48B9-959C-BF6DC1BEB06F}"/>
          </ac:spMkLst>
        </pc:spChg>
        <pc:cxnChg chg="del">
          <ac:chgData name="BODNER Christoph" userId="0e348722-d6b4-4f3e-b89e-da69cac527be" providerId="ADAL" clId="{8CBD7C6F-09A6-420D-843B-EE128337AEDA}" dt="2018-10-09T06:46:04.744" v="5813" actId="478"/>
          <ac:cxnSpMkLst>
            <pc:docMk/>
            <pc:sldMk cId="2694831885" sldId="966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46:05.243" v="5814" actId="478"/>
          <ac:cxnSpMkLst>
            <pc:docMk/>
            <pc:sldMk cId="2694831885" sldId="966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6:46:07.522" v="5815" actId="478"/>
          <ac:cxnSpMkLst>
            <pc:docMk/>
            <pc:sldMk cId="2694831885" sldId="966"/>
            <ac:cxnSpMk id="122" creationId="{D6CE391A-7A80-4D5F-BC2E-D138D955CF7D}"/>
          </ac:cxnSpMkLst>
        </pc:cxnChg>
      </pc:sldChg>
      <pc:sldChg chg="add del">
        <pc:chgData name="BODNER Christoph" userId="0e348722-d6b4-4f3e-b89e-da69cac527be" providerId="ADAL" clId="{8CBD7C6F-09A6-420D-843B-EE128337AEDA}" dt="2018-10-08T18:53:27.227" v="2291" actId="2696"/>
        <pc:sldMkLst>
          <pc:docMk/>
          <pc:sldMk cId="3169516710" sldId="966"/>
        </pc:sldMkLst>
      </pc:sldChg>
      <pc:sldChg chg="addSp delSp modSp add del modAnim">
        <pc:chgData name="BODNER Christoph" userId="0e348722-d6b4-4f3e-b89e-da69cac527be" providerId="ADAL" clId="{8CBD7C6F-09A6-420D-843B-EE128337AEDA}" dt="2018-10-09T14:54:23.565" v="7591" actId="2696"/>
        <pc:sldMkLst>
          <pc:docMk/>
          <pc:sldMk cId="428231202" sldId="967"/>
        </pc:sldMkLst>
        <pc:spChg chg="del">
          <ac:chgData name="BODNER Christoph" userId="0e348722-d6b4-4f3e-b89e-da69cac527be" providerId="ADAL" clId="{8CBD7C6F-09A6-420D-843B-EE128337AEDA}" dt="2018-10-08T19:03:29.691" v="2953" actId="478"/>
          <ac:spMkLst>
            <pc:docMk/>
            <pc:sldMk cId="428231202" sldId="967"/>
            <ac:spMk id="7" creationId="{2FCB992E-FEBA-441D-9E7D-73FF2FAE7020}"/>
          </ac:spMkLst>
        </pc:spChg>
        <pc:spChg chg="add mod">
          <ac:chgData name="BODNER Christoph" userId="0e348722-d6b4-4f3e-b89e-da69cac527be" providerId="ADAL" clId="{8CBD7C6F-09A6-420D-843B-EE128337AEDA}" dt="2018-10-09T07:13:19.851" v="6635" actId="14100"/>
          <ac:spMkLst>
            <pc:docMk/>
            <pc:sldMk cId="428231202" sldId="967"/>
            <ac:spMk id="8" creationId="{B98556D2-EEF6-43BF-B928-F3ABDDBB79B3}"/>
          </ac:spMkLst>
        </pc:spChg>
        <pc:spChg chg="mod">
          <ac:chgData name="BODNER Christoph" userId="0e348722-d6b4-4f3e-b89e-da69cac527be" providerId="ADAL" clId="{8CBD7C6F-09A6-420D-843B-EE128337AEDA}" dt="2018-10-09T06:47:03.791" v="5817" actId="1076"/>
          <ac:spMkLst>
            <pc:docMk/>
            <pc:sldMk cId="428231202" sldId="967"/>
            <ac:spMk id="30" creationId="{64B1802F-7242-48B9-959C-BF6DC1BEB06F}"/>
          </ac:spMkLst>
        </pc:spChg>
        <pc:cxnChg chg="del">
          <ac:chgData name="BODNER Christoph" userId="0e348722-d6b4-4f3e-b89e-da69cac527be" providerId="ADAL" clId="{8CBD7C6F-09A6-420D-843B-EE128337AEDA}" dt="2018-10-09T06:47:06.803" v="5818" actId="478"/>
          <ac:cxnSpMkLst>
            <pc:docMk/>
            <pc:sldMk cId="428231202" sldId="967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47:06.803" v="5818" actId="478"/>
          <ac:cxnSpMkLst>
            <pc:docMk/>
            <pc:sldMk cId="428231202" sldId="967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6:47:06.803" v="5818" actId="478"/>
          <ac:cxnSpMkLst>
            <pc:docMk/>
            <pc:sldMk cId="428231202" sldId="967"/>
            <ac:cxnSpMk id="122" creationId="{D6CE391A-7A80-4D5F-BC2E-D138D955CF7D}"/>
          </ac:cxnSpMkLst>
        </pc:cxnChg>
      </pc:sldChg>
      <pc:sldChg chg="addSp delSp modSp add ord">
        <pc:chgData name="BODNER Christoph" userId="0e348722-d6b4-4f3e-b89e-da69cac527be" providerId="ADAL" clId="{8CBD7C6F-09A6-420D-843B-EE128337AEDA}" dt="2018-10-09T06:45:46.805" v="5809" actId="478"/>
        <pc:sldMkLst>
          <pc:docMk/>
          <pc:sldMk cId="970841515" sldId="968"/>
        </pc:sldMkLst>
        <pc:spChg chg="del">
          <ac:chgData name="BODNER Christoph" userId="0e348722-d6b4-4f3e-b89e-da69cac527be" providerId="ADAL" clId="{8CBD7C6F-09A6-420D-843B-EE128337AEDA}" dt="2018-10-08T19:35:11.618" v="3854" actId="478"/>
          <ac:spMkLst>
            <pc:docMk/>
            <pc:sldMk cId="970841515" sldId="968"/>
            <ac:spMk id="2" creationId="{BE0840EB-BC1E-4170-A9E6-A8AB96DB0C38}"/>
          </ac:spMkLst>
        </pc:spChg>
        <pc:spChg chg="del">
          <ac:chgData name="BODNER Christoph" userId="0e348722-d6b4-4f3e-b89e-da69cac527be" providerId="ADAL" clId="{8CBD7C6F-09A6-420D-843B-EE128337AEDA}" dt="2018-10-08T19:35:09.956" v="3853" actId="478"/>
          <ac:spMkLst>
            <pc:docMk/>
            <pc:sldMk cId="970841515" sldId="968"/>
            <ac:spMk id="8" creationId="{C8CAC3C0-8D03-4ECC-AD43-0F7DA2984D0E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14" creationId="{090D10A2-0C6F-40F8-80BF-CF29E96337FE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15" creationId="{ACBD618D-9D4E-4716-9296-F732B9CB81C6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20" creationId="{1A53441B-0C76-4BB0-B3F4-905EB6B75DA5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21" creationId="{54E0076C-507E-4E8D-BD64-DE9D7CF233BE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22" creationId="{4359264B-2730-4E56-851B-98D2F06E1004}"/>
          </ac:spMkLst>
        </pc:spChg>
        <pc:spChg chg="add mod">
          <ac:chgData name="BODNER Christoph" userId="0e348722-d6b4-4f3e-b89e-da69cac527be" providerId="ADAL" clId="{8CBD7C6F-09A6-420D-843B-EE128337AEDA}" dt="2018-10-09T06:01:17.742" v="5084" actId="14100"/>
          <ac:spMkLst>
            <pc:docMk/>
            <pc:sldMk cId="970841515" sldId="968"/>
            <ac:spMk id="23" creationId="{806C10CA-4865-4E69-9913-144CA7933C96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24" creationId="{4A3A7CFF-BE40-4A78-9D78-AE2B1993D12A}"/>
          </ac:spMkLst>
        </pc:spChg>
        <pc:spChg chg="del">
          <ac:chgData name="BODNER Christoph" userId="0e348722-d6b4-4f3e-b89e-da69cac527be" providerId="ADAL" clId="{8CBD7C6F-09A6-420D-843B-EE128337AEDA}" dt="2018-10-08T19:30:03.305" v="3746" actId="478"/>
          <ac:spMkLst>
            <pc:docMk/>
            <pc:sldMk cId="970841515" sldId="968"/>
            <ac:spMk id="25" creationId="{13801FE4-F560-47F7-AE08-A83D07035918}"/>
          </ac:spMkLst>
        </pc:spChg>
        <pc:spChg chg="del">
          <ac:chgData name="BODNER Christoph" userId="0e348722-d6b4-4f3e-b89e-da69cac527be" providerId="ADAL" clId="{8CBD7C6F-09A6-420D-843B-EE128337AEDA}" dt="2018-10-08T19:30:04.654" v="3747" actId="478"/>
          <ac:spMkLst>
            <pc:docMk/>
            <pc:sldMk cId="970841515" sldId="968"/>
            <ac:spMk id="26" creationId="{FCEB7A46-9A7C-4846-A91F-8A7584C46F18}"/>
          </ac:spMkLst>
        </pc:spChg>
        <pc:spChg chg="add mod">
          <ac:chgData name="BODNER Christoph" userId="0e348722-d6b4-4f3e-b89e-da69cac527be" providerId="ADAL" clId="{8CBD7C6F-09A6-420D-843B-EE128337AEDA}" dt="2018-10-09T06:01:33.024" v="5088" actId="1076"/>
          <ac:spMkLst>
            <pc:docMk/>
            <pc:sldMk cId="970841515" sldId="968"/>
            <ac:spMk id="27" creationId="{31318716-5927-4DA8-A877-1F280C619370}"/>
          </ac:spMkLst>
        </pc:spChg>
        <pc:spChg chg="mod">
          <ac:chgData name="BODNER Christoph" userId="0e348722-d6b4-4f3e-b89e-da69cac527be" providerId="ADAL" clId="{8CBD7C6F-09A6-420D-843B-EE128337AEDA}" dt="2018-10-09T06:01:41.462" v="5092" actId="5793"/>
          <ac:spMkLst>
            <pc:docMk/>
            <pc:sldMk cId="970841515" sldId="968"/>
            <ac:spMk id="30" creationId="{64B1802F-7242-48B9-959C-BF6DC1BEB06F}"/>
          </ac:spMkLst>
        </pc:spChg>
        <pc:picChg chg="del">
          <ac:chgData name="BODNER Christoph" userId="0e348722-d6b4-4f3e-b89e-da69cac527be" providerId="ADAL" clId="{8CBD7C6F-09A6-420D-843B-EE128337AEDA}" dt="2018-10-08T19:30:03.305" v="3746" actId="478"/>
          <ac:picMkLst>
            <pc:docMk/>
            <pc:sldMk cId="970841515" sldId="968"/>
            <ac:picMk id="5" creationId="{67FE8F46-49EA-4634-A099-ED5E59F2C55D}"/>
          </ac:picMkLst>
        </pc:picChg>
        <pc:picChg chg="del">
          <ac:chgData name="BODNER Christoph" userId="0e348722-d6b4-4f3e-b89e-da69cac527be" providerId="ADAL" clId="{8CBD7C6F-09A6-420D-843B-EE128337AEDA}" dt="2018-10-08T19:30:03.305" v="3746" actId="478"/>
          <ac:picMkLst>
            <pc:docMk/>
            <pc:sldMk cId="970841515" sldId="968"/>
            <ac:picMk id="7" creationId="{7C277AE5-D2B6-484D-92C4-6C732BF76530}"/>
          </ac:picMkLst>
        </pc:picChg>
        <pc:picChg chg="del">
          <ac:chgData name="BODNER Christoph" userId="0e348722-d6b4-4f3e-b89e-da69cac527be" providerId="ADAL" clId="{8CBD7C6F-09A6-420D-843B-EE128337AEDA}" dt="2018-10-08T19:30:03.305" v="3746" actId="478"/>
          <ac:picMkLst>
            <pc:docMk/>
            <pc:sldMk cId="970841515" sldId="968"/>
            <ac:picMk id="11" creationId="{678876D2-EB34-4D85-A58D-538D04517E40}"/>
          </ac:picMkLst>
        </pc:picChg>
        <pc:picChg chg="del">
          <ac:chgData name="BODNER Christoph" userId="0e348722-d6b4-4f3e-b89e-da69cac527be" providerId="ADAL" clId="{8CBD7C6F-09A6-420D-843B-EE128337AEDA}" dt="2018-10-08T19:30:03.305" v="3746" actId="478"/>
          <ac:picMkLst>
            <pc:docMk/>
            <pc:sldMk cId="970841515" sldId="968"/>
            <ac:picMk id="13" creationId="{06E9268F-6DC6-401E-8FE9-70E437C0AEAA}"/>
          </ac:picMkLst>
        </pc:picChg>
        <pc:cxnChg chg="del">
          <ac:chgData name="BODNER Christoph" userId="0e348722-d6b4-4f3e-b89e-da69cac527be" providerId="ADAL" clId="{8CBD7C6F-09A6-420D-843B-EE128337AEDA}" dt="2018-10-09T06:45:45" v="5808" actId="478"/>
          <ac:cxnSpMkLst>
            <pc:docMk/>
            <pc:sldMk cId="970841515" sldId="968"/>
            <ac:cxnSpMk id="120" creationId="{696C98D9-7B24-4A29-B61E-B31919C5D8E4}"/>
          </ac:cxnSpMkLst>
        </pc:cxnChg>
        <pc:cxnChg chg="del">
          <ac:chgData name="BODNER Christoph" userId="0e348722-d6b4-4f3e-b89e-da69cac527be" providerId="ADAL" clId="{8CBD7C6F-09A6-420D-843B-EE128337AEDA}" dt="2018-10-09T06:45:43.197" v="5807" actId="478"/>
          <ac:cxnSpMkLst>
            <pc:docMk/>
            <pc:sldMk cId="970841515" sldId="968"/>
            <ac:cxnSpMk id="121" creationId="{A3B5A17C-95CE-4A9A-97EA-174D412003D7}"/>
          </ac:cxnSpMkLst>
        </pc:cxnChg>
        <pc:cxnChg chg="del">
          <ac:chgData name="BODNER Christoph" userId="0e348722-d6b4-4f3e-b89e-da69cac527be" providerId="ADAL" clId="{8CBD7C6F-09A6-420D-843B-EE128337AEDA}" dt="2018-10-09T06:45:46.805" v="5809" actId="478"/>
          <ac:cxnSpMkLst>
            <pc:docMk/>
            <pc:sldMk cId="970841515" sldId="968"/>
            <ac:cxnSpMk id="122" creationId="{D6CE391A-7A80-4D5F-BC2E-D138D955CF7D}"/>
          </ac:cxnSpMkLst>
        </pc:cxnChg>
      </pc:sldChg>
      <pc:sldChg chg="modSp add del modAnim">
        <pc:chgData name="BODNER Christoph" userId="0e348722-d6b4-4f3e-b89e-da69cac527be" providerId="ADAL" clId="{8CBD7C6F-09A6-420D-843B-EE128337AEDA}" dt="2018-10-09T14:54:22.973" v="7590" actId="2696"/>
        <pc:sldMkLst>
          <pc:docMk/>
          <pc:sldMk cId="1925560019" sldId="969"/>
        </pc:sldMkLst>
        <pc:spChg chg="mod">
          <ac:chgData name="BODNER Christoph" userId="0e348722-d6b4-4f3e-b89e-da69cac527be" providerId="ADAL" clId="{8CBD7C6F-09A6-420D-843B-EE128337AEDA}" dt="2018-10-09T14:53:46.666" v="7584" actId="20577"/>
          <ac:spMkLst>
            <pc:docMk/>
            <pc:sldMk cId="1925560019" sldId="969"/>
            <ac:spMk id="8" creationId="{B98556D2-EEF6-43BF-B928-F3ABDDBB79B3}"/>
          </ac:spMkLst>
        </pc:spChg>
        <pc:spChg chg="mod">
          <ac:chgData name="BODNER Christoph" userId="0e348722-d6b4-4f3e-b89e-da69cac527be" providerId="ADAL" clId="{8CBD7C6F-09A6-420D-843B-EE128337AEDA}" dt="2018-10-09T07:22:01.674" v="7397" actId="20577"/>
          <ac:spMkLst>
            <pc:docMk/>
            <pc:sldMk cId="1925560019" sldId="969"/>
            <ac:spMk id="19" creationId="{ADC50D8E-9507-4319-9DB1-041128CAC99D}"/>
          </ac:spMkLst>
        </pc:spChg>
      </pc:sldChg>
      <pc:sldChg chg="modSp add">
        <pc:chgData name="BODNER Christoph" userId="0e348722-d6b4-4f3e-b89e-da69cac527be" providerId="ADAL" clId="{8CBD7C6F-09A6-420D-843B-EE128337AEDA}" dt="2018-10-09T07:22:24.081" v="7400" actId="207"/>
        <pc:sldMkLst>
          <pc:docMk/>
          <pc:sldMk cId="3719321938" sldId="970"/>
        </pc:sldMkLst>
        <pc:grpChg chg="mod">
          <ac:chgData name="BODNER Christoph" userId="0e348722-d6b4-4f3e-b89e-da69cac527be" providerId="ADAL" clId="{8CBD7C6F-09A6-420D-843B-EE128337AEDA}" dt="2018-10-09T07:22:24.081" v="7400" actId="207"/>
          <ac:grpSpMkLst>
            <pc:docMk/>
            <pc:sldMk cId="3719321938" sldId="970"/>
            <ac:grpSpMk id="3" creationId="{2AE37307-EFA0-49CD-9F68-71C67974A913}"/>
          </ac:grpSpMkLst>
        </pc:grpChg>
        <pc:grpChg chg="mod">
          <ac:chgData name="BODNER Christoph" userId="0e348722-d6b4-4f3e-b89e-da69cac527be" providerId="ADAL" clId="{8CBD7C6F-09A6-420D-843B-EE128337AEDA}" dt="2018-10-09T07:22:24.081" v="7400" actId="207"/>
          <ac:grpSpMkLst>
            <pc:docMk/>
            <pc:sldMk cId="3719321938" sldId="970"/>
            <ac:grpSpMk id="5" creationId="{FB2BDE9B-A969-4325-9062-F27B3F679DE3}"/>
          </ac:grpSpMkLst>
        </pc:grpChg>
      </pc:sldChg>
      <pc:sldChg chg="modSp">
        <pc:chgData name="BODNER Christoph" userId="0e348722-d6b4-4f3e-b89e-da69cac527be" providerId="ADAL" clId="{8CBD7C6F-09A6-420D-843B-EE128337AEDA}" dt="2018-10-09T15:03:00.350" v="7593" actId="1076"/>
        <pc:sldMkLst>
          <pc:docMk/>
          <pc:sldMk cId="1665240149" sldId="972"/>
        </pc:sldMkLst>
        <pc:spChg chg="mod">
          <ac:chgData name="BODNER Christoph" userId="0e348722-d6b4-4f3e-b89e-da69cac527be" providerId="ADAL" clId="{8CBD7C6F-09A6-420D-843B-EE128337AEDA}" dt="2018-10-09T15:03:00.350" v="7593" actId="1076"/>
          <ac:spMkLst>
            <pc:docMk/>
            <pc:sldMk cId="1665240149" sldId="972"/>
            <ac:spMk id="118" creationId="{9DE2A5B2-B759-41A1-AE88-FB3A9F0E3132}"/>
          </ac:spMkLst>
        </pc:spChg>
      </pc:sldChg>
      <pc:sldMasterChg chg="modSldLayout">
        <pc:chgData name="BODNER Christoph" userId="0e348722-d6b4-4f3e-b89e-da69cac527be" providerId="ADAL" clId="{8CBD7C6F-09A6-420D-843B-EE128337AEDA}" dt="2018-10-08T18:48:22.145" v="2174" actId="20577"/>
        <pc:sldMasterMkLst>
          <pc:docMk/>
          <pc:sldMasterMk cId="3096639505" sldId="2147483648"/>
        </pc:sldMasterMkLst>
        <pc:sldLayoutChg chg="modSp">
          <pc:chgData name="BODNER Christoph" userId="0e348722-d6b4-4f3e-b89e-da69cac527be" providerId="ADAL" clId="{8CBD7C6F-09A6-420D-843B-EE128337AEDA}" dt="2018-10-08T18:48:22.145" v="2174" actId="20577"/>
          <pc:sldLayoutMkLst>
            <pc:docMk/>
            <pc:sldMasterMk cId="3096639505" sldId="2147483648"/>
            <pc:sldLayoutMk cId="2409734401" sldId="2147483704"/>
          </pc:sldLayoutMkLst>
          <pc:spChg chg="mod">
            <ac:chgData name="BODNER Christoph" userId="0e348722-d6b4-4f3e-b89e-da69cac527be" providerId="ADAL" clId="{8CBD7C6F-09A6-420D-843B-EE128337AEDA}" dt="2018-10-08T18:48:10.571" v="2153" actId="20577"/>
            <ac:spMkLst>
              <pc:docMk/>
              <pc:sldMasterMk cId="3096639505" sldId="2147483648"/>
              <pc:sldLayoutMk cId="2409734401" sldId="2147483704"/>
              <ac:spMk id="9" creationId="{00000000-0000-0000-0000-000000000000}"/>
            </ac:spMkLst>
          </pc:spChg>
          <pc:spChg chg="mod">
            <ac:chgData name="BODNER Christoph" userId="0e348722-d6b4-4f3e-b89e-da69cac527be" providerId="ADAL" clId="{8CBD7C6F-09A6-420D-843B-EE128337AEDA}" dt="2018-10-08T18:48:16.157" v="2161" actId="20577"/>
            <ac:spMkLst>
              <pc:docMk/>
              <pc:sldMasterMk cId="3096639505" sldId="2147483648"/>
              <pc:sldLayoutMk cId="2409734401" sldId="2147483704"/>
              <ac:spMk id="10" creationId="{00000000-0000-0000-0000-000000000000}"/>
            </ac:spMkLst>
          </pc:spChg>
          <pc:spChg chg="mod">
            <ac:chgData name="BODNER Christoph" userId="0e348722-d6b4-4f3e-b89e-da69cac527be" providerId="ADAL" clId="{8CBD7C6F-09A6-420D-843B-EE128337AEDA}" dt="2018-10-08T18:48:22.145" v="2174" actId="20577"/>
            <ac:spMkLst>
              <pc:docMk/>
              <pc:sldMasterMk cId="3096639505" sldId="2147483648"/>
              <pc:sldLayoutMk cId="2409734401" sldId="2147483704"/>
              <ac:spMk id="11" creationId="{00000000-0000-0000-0000-000000000000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658653540287096E-3"/>
          <c:y val="3.5105549436199084E-2"/>
          <c:w val="0.9821589584362963"/>
          <c:h val="0.878263552649139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F5E209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D55-496D-A729-20E2D8CE0F7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D55-496D-A729-20E2D8CE0F77}"/>
              </c:ext>
            </c:extLst>
          </c:dPt>
          <c:dLbls>
            <c:dLbl>
              <c:idx val="0"/>
              <c:spPr/>
              <c:txPr>
                <a:bodyPr anchorCtr="0"/>
                <a:lstStyle/>
                <a:p>
                  <a:pPr algn="l">
                    <a:defRPr sz="105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D55-496D-A729-20E2D8CE0F77}"/>
                </c:ext>
              </c:extLst>
            </c:dLbl>
            <c:dLbl>
              <c:idx val="2"/>
              <c:spPr/>
              <c:txPr>
                <a:bodyPr anchorCtr="0"/>
                <a:lstStyle/>
                <a:p>
                  <a:pPr algn="l">
                    <a:defRPr sz="105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D55-496D-A729-20E2D8CE0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l">
                  <a:defRPr sz="1050">
                    <a:solidFill>
                      <a:schemeClr val="tx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4</c:f>
              <c:numCache>
                <c:formatCode>General</c:formatCode>
                <c:ptCount val="3"/>
                <c:pt idx="0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Tabelle1!$B$2:$B$4</c:f>
              <c:numCache>
                <c:formatCode>General</c:formatCode>
                <c:ptCount val="3"/>
                <c:pt idx="0" formatCode="#,##0.0">
                  <c:v>1478.5</c:v>
                </c:pt>
                <c:pt idx="2" formatCode="#,##0.0">
                  <c:v>144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55-496D-A729-20E2D8CE0F7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DF8BF"/>
              </a:solidFill>
            </c:spPr>
            <c:extLst>
              <c:ext xmlns:c16="http://schemas.microsoft.com/office/drawing/2014/chart" uri="{C3380CC4-5D6E-409C-BE32-E72D297353CC}">
                <c16:uniqueId val="{00000004-3D55-496D-A729-20E2D8CE0F7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D55-496D-A729-20E2D8CE0F7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3D55-496D-A729-20E2D8CE0F7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D55-496D-A729-20E2D8CE0F7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4</c:f>
              <c:numCache>
                <c:formatCode>General</c:formatCode>
                <c:ptCount val="3"/>
                <c:pt idx="0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Tabelle1!$C$2:$C$4</c:f>
              <c:numCache>
                <c:formatCode>General</c:formatCode>
                <c:ptCount val="3"/>
                <c:pt idx="0" formatCode="#,##0.0">
                  <c:v>421.1</c:v>
                </c:pt>
                <c:pt idx="2" formatCode="#,##0.0">
                  <c:v>49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55-496D-A729-20E2D8CE0F7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5"/>
              </a:solidFill>
            </a:ln>
          </c:spPr>
          <c:invertIfNegative val="0"/>
          <c:dPt>
            <c:idx val="0"/>
            <c:invertIfNegative val="0"/>
            <c:bubble3D val="0"/>
            <c:spPr>
              <a:noFill/>
              <a:ln w="12700">
                <a:solidFill>
                  <a:schemeClr val="accent5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B-3D55-496D-A729-20E2D8CE0F77}"/>
              </c:ext>
            </c:extLst>
          </c:dPt>
          <c:dPt>
            <c:idx val="2"/>
            <c:invertIfNegative val="0"/>
            <c:bubble3D val="0"/>
            <c:spPr>
              <a:noFill/>
              <a:ln w="12700">
                <a:solidFill>
                  <a:schemeClr val="accent5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D-3D55-496D-A729-20E2D8CE0F7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01259CB-ACF0-4E49-9FAA-E2F58A867AE9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WERT]</a:t>
                    </a:fld>
                    <a:endParaRPr lang="de-AT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D55-496D-A729-20E2D8CE0F7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D55-496D-A729-20E2D8CE0F7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D55-496D-A729-20E2D8CE0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l">
                  <a:defRPr sz="1050">
                    <a:solidFill>
                      <a:schemeClr val="tx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:$A$4</c:f>
              <c:numCache>
                <c:formatCode>General</c:formatCode>
                <c:ptCount val="3"/>
                <c:pt idx="0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Tabelle1!$D$2:$D$4</c:f>
              <c:numCache>
                <c:formatCode>#,##0.0</c:formatCode>
                <c:ptCount val="3"/>
                <c:pt idx="0">
                  <c:v>134.8000000000000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D55-496D-A729-20E2D8CE0F7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4595072"/>
        <c:axId val="4613248"/>
      </c:barChart>
      <c:catAx>
        <c:axId val="459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 baseline="0"/>
            </a:pPr>
            <a:endParaRPr lang="de-DE"/>
          </a:p>
        </c:txPr>
        <c:crossAx val="4613248"/>
        <c:crosses val="autoZero"/>
        <c:auto val="1"/>
        <c:lblAlgn val="ctr"/>
        <c:lblOffset val="100"/>
        <c:noMultiLvlLbl val="0"/>
      </c:catAx>
      <c:valAx>
        <c:axId val="4613248"/>
        <c:scaling>
          <c:orientation val="minMax"/>
          <c:max val="2060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4595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1167840403705464E-3"/>
          <c:w val="0.99854357788807091"/>
          <c:h val="0.87156796322033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iagrammtitel</c:v>
                </c:pt>
              </c:strCache>
            </c:strRef>
          </c:tx>
          <c:spPr>
            <a:solidFill>
              <a:srgbClr val="F5E209"/>
            </a:solidFill>
            <a:ln w="285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5E209"/>
              </a:solidFill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1-BDF9-4AC9-A1ED-26B75255F6E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DF9-4AC9-A1ED-26B75255F6E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DF9-4AC9-A1ED-26B75255F6E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DF9-4AC9-A1ED-26B75255F6E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DF9-4AC9-A1ED-26B75255F6E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DF9-4AC9-A1ED-26B75255F6E7}"/>
              </c:ext>
            </c:extLst>
          </c:dPt>
          <c:dPt>
            <c:idx val="6"/>
            <c:invertIfNegative val="0"/>
            <c:bubble3D val="0"/>
            <c:spPr>
              <a:solidFill>
                <a:srgbClr val="1687AF"/>
              </a:solidFill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8-BDF9-4AC9-A1ED-26B75255F6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Tabelle1!$B$2:$B$8</c:f>
              <c:numCache>
                <c:formatCode>#,##0.0</c:formatCode>
                <c:ptCount val="7"/>
                <c:pt idx="0">
                  <c:v>59</c:v>
                </c:pt>
                <c:pt idx="1">
                  <c:v>65</c:v>
                </c:pt>
                <c:pt idx="2">
                  <c:v>70</c:v>
                </c:pt>
                <c:pt idx="3">
                  <c:v>74</c:v>
                </c:pt>
                <c:pt idx="4">
                  <c:v>80</c:v>
                </c:pt>
                <c:pt idx="5">
                  <c:v>81</c:v>
                </c:pt>
                <c:pt idx="6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9-4AC9-A1ED-26B75255F6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46990976"/>
        <c:axId val="146994688"/>
      </c:barChart>
      <c:catAx>
        <c:axId val="14699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de-DE"/>
          </a:p>
        </c:txPr>
        <c:crossAx val="146994688"/>
        <c:crosses val="autoZero"/>
        <c:auto val="1"/>
        <c:lblAlgn val="ctr"/>
        <c:lblOffset val="100"/>
        <c:noMultiLvlLbl val="0"/>
      </c:catAx>
      <c:valAx>
        <c:axId val="146994688"/>
        <c:scaling>
          <c:orientation val="minMax"/>
          <c:min val="0"/>
        </c:scaling>
        <c:delete val="1"/>
        <c:axPos val="l"/>
        <c:numFmt formatCode="#,##0.0" sourceLinked="1"/>
        <c:majorTickMark val="none"/>
        <c:minorTickMark val="none"/>
        <c:tickLblPos val="none"/>
        <c:crossAx val="1469909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0DEF51-581D-C743-A96B-E912EEAE2C1C}" type="datetime1">
              <a:rPr lang="de-AT" smtClean="0"/>
              <a:t>09.10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4B5E8-4281-464D-8E5F-2345F6B8AA0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80027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18169E-CA44-8A48-AC0B-3B206602D0F4}" type="datetime1">
              <a:rPr lang="de-AT" smtClean="0"/>
              <a:t>09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39775"/>
            <a:ext cx="6569075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60E32F-EFA1-004A-8257-93AF74440E4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390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A36FCE-0734-4F84-81F7-720AA02635BE}" type="slidenum">
              <a:rPr lang="de-AT" smtClean="0"/>
              <a:t>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59845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51EF8AE-1EF6-4638-97E3-C117168970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1D3406-672E-4028-BF3D-687DBAA4450C}"/>
              </a:ext>
            </a:extLst>
          </p:cNvPr>
          <p:cNvSpPr txBox="1">
            <a:spLocks/>
          </p:cNvSpPr>
          <p:nvPr/>
        </p:nvSpPr>
        <p:spPr>
          <a:xfrm>
            <a:off x="3775261" y="9659189"/>
            <a:ext cx="3213675" cy="528198"/>
          </a:xfrm>
          <a:prstGeom prst="rect">
            <a:avLst/>
          </a:prstGeom>
        </p:spPr>
        <p:txBody>
          <a:bodyPr vert="horz" lIns="98898" tIns="49448" rIns="98898" bIns="49448" rtlCol="0" anchor="b"/>
          <a:lstStyle>
            <a:defPPr>
              <a:defRPr lang="de-DE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1A36FCE-0734-4F84-81F7-720AA02635BE}" type="slidenum">
              <a:rPr lang="de-AT" smtClean="0"/>
              <a:pPr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3697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https://docs.microsoft.com/en-us/azure/data-lake-analytics/data-lake-analytics-u-sql-r-extensions</a:t>
            </a:r>
          </a:p>
          <a:p>
            <a:r>
              <a:rPr lang="de-AT" dirty="0"/>
              <a:t>https://docs.microsoft.com/en-us/azure/data-lake-analytics/data-lake-analytics-u-sql-develop-with-python-r-csharp-in-vscode</a:t>
            </a:r>
          </a:p>
          <a:p>
            <a:r>
              <a:rPr lang="de-AT" dirty="0"/>
              <a:t>https://docs.microsoft.com/en-us/azure/data-lake-analytics/data-lake-analytics-u-sql-get-started</a:t>
            </a:r>
          </a:p>
        </p:txBody>
      </p:sp>
    </p:spTree>
    <p:extLst>
      <p:ext uri="{BB962C8B-B14F-4D97-AF65-F5344CB8AC3E}">
        <p14:creationId xmlns:p14="http://schemas.microsoft.com/office/powerpoint/2010/main" val="748696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- ohne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6583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2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040939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noFill/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pic>
        <p:nvPicPr>
          <p:cNvPr id="9" name="Bild 1" descr="TONI_0869_CLAIM_IC.png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589" y="947738"/>
            <a:ext cx="2023046" cy="39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512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- mit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3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solidFill>
            <a:schemeClr val="tx2"/>
          </a:solidFill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pic>
        <p:nvPicPr>
          <p:cNvPr id="10" name="Bild 10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009" y="947738"/>
            <a:ext cx="2492141" cy="4000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3779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- ohne Balken ohne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6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noFill/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sp>
        <p:nvSpPr>
          <p:cNvPr id="9" name="Rechteck 12"/>
          <p:cNvSpPr>
            <a:spLocks noChangeArrowheads="1"/>
          </p:cNvSpPr>
          <p:nvPr userDrawn="1"/>
        </p:nvSpPr>
        <p:spPr bwMode="auto">
          <a:xfrm>
            <a:off x="224205" y="4902996"/>
            <a:ext cx="8695591" cy="145256"/>
          </a:xfrm>
          <a:prstGeom prst="rect">
            <a:avLst/>
          </a:prstGeom>
          <a:solidFill>
            <a:srgbClr val="F7E400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19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- mit Balken ohne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029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solidFill>
            <a:schemeClr val="tx2"/>
          </a:solidFill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sp>
        <p:nvSpPr>
          <p:cNvPr id="10" name="Rechteck 12"/>
          <p:cNvSpPr>
            <a:spLocks noChangeArrowheads="1"/>
          </p:cNvSpPr>
          <p:nvPr userDrawn="1"/>
        </p:nvSpPr>
        <p:spPr bwMode="auto">
          <a:xfrm>
            <a:off x="224205" y="4902996"/>
            <a:ext cx="8695591" cy="145256"/>
          </a:xfrm>
          <a:prstGeom prst="rect">
            <a:avLst/>
          </a:prstGeom>
          <a:solidFill>
            <a:srgbClr val="F7E400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1" name="Bild 9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028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s -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947738"/>
            <a:ext cx="8353623" cy="401317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(ARIAL Black)</a:t>
            </a:r>
            <a:endParaRPr 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1335899"/>
            <a:ext cx="8353623" cy="3202084"/>
          </a:xfrm>
          <a:prstGeom prst="rect">
            <a:avLst/>
          </a:prstGeom>
        </p:spPr>
        <p:txBody>
          <a:bodyPr wrap="square" lIns="30679" tIns="92038" rIns="92038" bIns="92038">
            <a:sp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lnSpc>
                <a:spcPct val="80000"/>
              </a:lnSpc>
              <a:defRPr sz="1800" normalizeH="0" baseline="0"/>
            </a:lvl1pPr>
          </a:lstStyle>
          <a:p>
            <a:r>
              <a:rPr lang="de-AT"/>
              <a:t>Titel durch Klicken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71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s -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947738"/>
            <a:ext cx="8345717" cy="3762237"/>
          </a:xfrm>
          <a:prstGeom prst="rect">
            <a:avLst/>
          </a:prstGeom>
        </p:spPr>
        <p:txBody>
          <a:bodyPr wrap="square" lIns="30679" tIns="92038" rIns="92038" bIns="92038">
            <a:spAutoFit/>
          </a:bodyPr>
          <a:lstStyle>
            <a:lvl1pPr marL="0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8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pic>
        <p:nvPicPr>
          <p:cNvPr id="12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154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s - ohne Unter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387382" y="2105022"/>
            <a:ext cx="7221382" cy="555205"/>
          </a:xfrm>
          <a:prstGeom prst="rect">
            <a:avLst/>
          </a:prstGeom>
        </p:spPr>
        <p:txBody>
          <a:bodyPr wrap="square" lIns="30679" tIns="92038" rIns="92038" bIns="92038" anchor="ctr" anchorCtr="0">
            <a:spAutoFit/>
          </a:bodyPr>
          <a:lstStyle>
            <a:lvl1pPr marL="0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2400" b="1" baseline="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5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5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500"/>
            </a:lvl4pPr>
            <a:lvl5pPr marL="518149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None/>
              <a:tabLst/>
              <a:defRPr sz="1500"/>
            </a:lvl5pPr>
          </a:lstStyle>
          <a:p>
            <a:pPr marL="0" marR="0" lvl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/>
              <a:t>Mustertext (Arial 24, BOLD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8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pic>
        <p:nvPicPr>
          <p:cNvPr id="12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374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s - ohne Untertitel">
    <p:bg>
      <p:bgPr>
        <a:solidFill>
          <a:srgbClr val="F7E4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387382" y="2105022"/>
            <a:ext cx="7221382" cy="555205"/>
          </a:xfrm>
          <a:prstGeom prst="rect">
            <a:avLst/>
          </a:prstGeom>
        </p:spPr>
        <p:txBody>
          <a:bodyPr wrap="square" lIns="30679" tIns="92038" rIns="92038" bIns="92038" anchor="ctr" anchorCtr="0">
            <a:spAutoFit/>
          </a:bodyPr>
          <a:lstStyle>
            <a:lvl1pPr marL="0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2400" b="1" baseline="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5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5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500"/>
            </a:lvl4pPr>
            <a:lvl5pPr marL="518149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None/>
              <a:tabLst/>
              <a:defRPr sz="1500"/>
            </a:lvl5pPr>
          </a:lstStyle>
          <a:p>
            <a:pPr marL="0" marR="0" lvl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/>
              <a:t>Mustertext (Arial 24, BOLD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8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pic>
        <p:nvPicPr>
          <p:cNvPr id="12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7427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2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947738"/>
            <a:ext cx="4033837" cy="616761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(ARIAL Black)</a:t>
            </a:r>
            <a:br>
              <a:rPr lang="de-AT"/>
            </a:br>
            <a:endParaRPr 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1564499"/>
            <a:ext cx="4033837" cy="2973484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4707168" y="947738"/>
            <a:ext cx="4033837" cy="616761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(ARIAL Black)</a:t>
            </a:r>
            <a:br>
              <a:rPr lang="de-AT"/>
            </a:br>
            <a:endParaRPr lang="de-DE"/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>
          <a:xfrm>
            <a:off x="4707168" y="1564499"/>
            <a:ext cx="4033837" cy="2973484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09103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2 Spalten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947738"/>
            <a:ext cx="4033837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>
          <a:xfrm>
            <a:off x="4707168" y="947738"/>
            <a:ext cx="4033837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10463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3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7" y="947738"/>
            <a:ext cx="2628000" cy="616761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</a:t>
            </a:r>
            <a:br>
              <a:rPr lang="de-AT"/>
            </a:br>
            <a:r>
              <a:rPr lang="de-AT"/>
              <a:t>(ARIAL Black)</a:t>
            </a:r>
            <a:endParaRPr 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7" y="1564499"/>
            <a:ext cx="2628000" cy="2973484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3254146" y="947738"/>
            <a:ext cx="2628000" cy="616761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</a:t>
            </a:r>
            <a:br>
              <a:rPr lang="de-AT"/>
            </a:br>
            <a:r>
              <a:rPr lang="de-AT"/>
              <a:t>(ARIAL Black)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3254146" y="1564499"/>
            <a:ext cx="2628000" cy="2973484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13005" y="947738"/>
            <a:ext cx="2628000" cy="616761"/>
          </a:xfrm>
          <a:prstGeom prst="rect">
            <a:avLst/>
          </a:prstGeom>
        </p:spPr>
        <p:txBody>
          <a:bodyPr vert="horz" wrap="square" lIns="30679" tIns="92038" rIns="92038" bIns="92038">
            <a:spAutoFit/>
          </a:bodyPr>
          <a:lstStyle>
            <a:lvl1pPr marL="0" indent="0">
              <a:defRPr sz="1400" b="0" cap="all">
                <a:latin typeface="+mj-lt"/>
              </a:defRPr>
            </a:lvl1pPr>
          </a:lstStyle>
          <a:p>
            <a:pPr lvl="0"/>
            <a:r>
              <a:rPr lang="de-AT"/>
              <a:t>UNTERTITEL </a:t>
            </a:r>
            <a:br>
              <a:rPr lang="de-AT"/>
            </a:br>
            <a:r>
              <a:rPr lang="de-AT"/>
              <a:t>(ARIAL Black)</a:t>
            </a:r>
            <a:endParaRPr lang="de-DE"/>
          </a:p>
        </p:txBody>
      </p:sp>
      <p:sp>
        <p:nvSpPr>
          <p:cNvPr id="21" name="Inhaltsplatzhalter 2"/>
          <p:cNvSpPr>
            <a:spLocks noGrp="1"/>
          </p:cNvSpPr>
          <p:nvPr>
            <p:ph idx="18" hasCustomPrompt="1"/>
          </p:nvPr>
        </p:nvSpPr>
        <p:spPr>
          <a:xfrm>
            <a:off x="6113005" y="1564499"/>
            <a:ext cx="2628000" cy="2973484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0652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- ohne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537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pic>
        <p:nvPicPr>
          <p:cNvPr id="2" name="Bild 1" descr="TONI_0869_CLAIM_IC.png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589" y="947738"/>
            <a:ext cx="2023046" cy="3972875"/>
          </a:xfrm>
          <a:prstGeom prst="rect">
            <a:avLst/>
          </a:prstGeom>
        </p:spPr>
      </p:pic>
      <p:sp>
        <p:nvSpPr>
          <p:cNvPr id="12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040939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solidFill>
            <a:srgbClr val="F5E209"/>
          </a:solidFill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</p:spTree>
    <p:extLst>
      <p:ext uri="{BB962C8B-B14F-4D97-AF65-F5344CB8AC3E}">
        <p14:creationId xmlns:p14="http://schemas.microsoft.com/office/powerpoint/2010/main" val="802711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3 Spalten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7" y="947738"/>
            <a:ext cx="262800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3254146" y="947738"/>
            <a:ext cx="262800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21" name="Inhaltsplatzhalter 2"/>
          <p:cNvSpPr>
            <a:spLocks noGrp="1"/>
          </p:cNvSpPr>
          <p:nvPr>
            <p:ph idx="18" hasCustomPrompt="1"/>
          </p:nvPr>
        </p:nvSpPr>
        <p:spPr>
          <a:xfrm>
            <a:off x="6113005" y="947738"/>
            <a:ext cx="262800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59079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4 Spalten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947738"/>
            <a:ext cx="1923068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2536171" y="947738"/>
            <a:ext cx="1923068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21" name="Inhaltsplatzhalter 2"/>
          <p:cNvSpPr>
            <a:spLocks noGrp="1"/>
          </p:cNvSpPr>
          <p:nvPr>
            <p:ph idx="18" hasCustomPrompt="1"/>
          </p:nvPr>
        </p:nvSpPr>
        <p:spPr>
          <a:xfrm>
            <a:off x="4677054" y="947738"/>
            <a:ext cx="1923068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3" name="Inhaltsplatzhalter 2"/>
          <p:cNvSpPr>
            <a:spLocks noGrp="1"/>
          </p:cNvSpPr>
          <p:nvPr>
            <p:ph idx="19" hasCustomPrompt="1"/>
          </p:nvPr>
        </p:nvSpPr>
        <p:spPr>
          <a:xfrm>
            <a:off x="6817937" y="947738"/>
            <a:ext cx="1923068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87334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gramme 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7" y="947738"/>
            <a:ext cx="252553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idx="16" hasCustomPrompt="1"/>
          </p:nvPr>
        </p:nvSpPr>
        <p:spPr>
          <a:xfrm>
            <a:off x="3305381" y="947738"/>
            <a:ext cx="252553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21" name="Inhaltsplatzhalter 2"/>
          <p:cNvSpPr>
            <a:spLocks noGrp="1"/>
          </p:cNvSpPr>
          <p:nvPr>
            <p:ph idx="18" hasCustomPrompt="1"/>
          </p:nvPr>
        </p:nvSpPr>
        <p:spPr>
          <a:xfrm>
            <a:off x="6215475" y="947738"/>
            <a:ext cx="2525530" cy="3590245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55529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gramme - 2 Spalten /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947738"/>
            <a:ext cx="4033837" cy="1722437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1" name="Titel 12"/>
          <p:cNvSpPr>
            <a:spLocks noGrp="1"/>
          </p:cNvSpPr>
          <p:nvPr>
            <p:ph type="title" hasCustomPrompt="1"/>
          </p:nvPr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>
          <a:xfrm>
            <a:off x="4707168" y="947738"/>
            <a:ext cx="4033837" cy="1722437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95288" y="2957959"/>
            <a:ext cx="4033837" cy="1722437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sp>
        <p:nvSpPr>
          <p:cNvPr id="17" name="Inhaltsplatzhalter 2"/>
          <p:cNvSpPr>
            <a:spLocks noGrp="1"/>
          </p:cNvSpPr>
          <p:nvPr>
            <p:ph idx="18" hasCustomPrompt="1"/>
          </p:nvPr>
        </p:nvSpPr>
        <p:spPr>
          <a:xfrm>
            <a:off x="4707168" y="2957959"/>
            <a:ext cx="4033837" cy="1722437"/>
          </a:xfrm>
          <a:prstGeom prst="rect">
            <a:avLst/>
          </a:prstGeom>
        </p:spPr>
        <p:txBody>
          <a:bodyPr wrap="square" lIns="30679" tIns="92038" rIns="92038" bIns="92038">
            <a:no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400"/>
            </a:lvl1pPr>
            <a:lvl2pPr marL="168736" marR="0" indent="-16873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400"/>
            </a:lvl2pPr>
            <a:lvl3pPr marL="336864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400"/>
            </a:lvl3pPr>
            <a:lvl4pPr marL="516795" marR="0" indent="-178579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400"/>
            </a:lvl4pPr>
            <a:lvl5pPr marL="685904" marR="0" indent="-167756" algn="l" defTabSz="779252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40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32406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s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itel 12"/>
          <p:cNvSpPr>
            <a:spLocks noGrp="1"/>
          </p:cNvSpPr>
          <p:nvPr>
            <p:ph type="title" hasCustomPrompt="1"/>
          </p:nvPr>
        </p:nvSpPr>
        <p:spPr>
          <a:xfrm>
            <a:off x="395288" y="372666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>
              <a:defRPr lang="de-DE" sz="1800" normalizeH="0" baseline="0" dirty="0"/>
            </a:lvl1pPr>
          </a:lstStyle>
          <a:p>
            <a:pPr lvl="0">
              <a:lnSpc>
                <a:spcPct val="80000"/>
              </a:lnSpc>
            </a:pPr>
            <a:r>
              <a:rPr lang="de-AT"/>
              <a:t>Titel durch Klicken hinzufügen</a:t>
            </a:r>
            <a:endParaRPr lang="de-DE"/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05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s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Bild 7" descr="TONI_1111_IC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867" y="4222738"/>
            <a:ext cx="514350" cy="8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74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s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DER PRÄSENTATION   |   Abteilung / Verfasser   |   Ort, Dat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7" descr="TONI_1111_IC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867" y="4222738"/>
            <a:ext cx="514350" cy="859319"/>
          </a:xfrm>
          <a:prstGeom prst="rect">
            <a:avLst/>
          </a:prstGeom>
        </p:spPr>
      </p:pic>
      <p:pic>
        <p:nvPicPr>
          <p:cNvPr id="7" name="Bild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2696" y="-190775"/>
            <a:ext cx="2718608" cy="5319410"/>
          </a:xfrm>
          <a:prstGeom prst="rect">
            <a:avLst/>
          </a:prstGeom>
        </p:spPr>
      </p:pic>
      <p:sp>
        <p:nvSpPr>
          <p:cNvPr id="9" name="Textplatzhalter 2"/>
          <p:cNvSpPr txBox="1">
            <a:spLocks noChangeAspect="1"/>
          </p:cNvSpPr>
          <p:nvPr userDrawn="1"/>
        </p:nvSpPr>
        <p:spPr>
          <a:xfrm>
            <a:off x="3882702" y="1627096"/>
            <a:ext cx="1648456" cy="153888"/>
          </a:xfrm>
          <a:prstGeom prst="rect">
            <a:avLst/>
          </a:prstGeom>
          <a:solidFill>
            <a:schemeClr val="tx1"/>
          </a:solidFill>
          <a:scene3d>
            <a:camera prst="orthographicFront">
              <a:rot lat="21480000" lon="1380000" rev="0"/>
            </a:camera>
            <a:lightRig rig="threePt" dir="t"/>
          </a:scene3d>
          <a:sp3d/>
        </p:spPr>
        <p:txBody>
          <a:bodyPr vert="horz" wrap="none" lIns="36000" tIns="0" rIns="36000" bIns="0" anchor="ctr" anchorCtr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200" b="1" kern="1200" cap="all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b="0" dirty="0" err="1"/>
              <a:t>If</a:t>
            </a:r>
            <a:r>
              <a:rPr lang="de-AT" sz="1000" b="0" dirty="0"/>
              <a:t> </a:t>
            </a:r>
            <a:r>
              <a:rPr lang="de-AT" sz="1000" b="0" dirty="0" err="1"/>
              <a:t>it</a:t>
            </a:r>
            <a:r>
              <a:rPr lang="de-AT" sz="1000" b="0" dirty="0"/>
              <a:t> </a:t>
            </a:r>
            <a:r>
              <a:rPr lang="de-AT" sz="1000" b="0" dirty="0" err="1"/>
              <a:t>really</a:t>
            </a:r>
            <a:r>
              <a:rPr lang="de-AT" sz="1000" b="0" dirty="0"/>
              <a:t> </a:t>
            </a:r>
            <a:r>
              <a:rPr lang="de-AT" sz="1000" b="0" dirty="0" err="1"/>
              <a:t>counts</a:t>
            </a:r>
            <a:endParaRPr lang="de-DE" sz="1000" b="0" dirty="0"/>
          </a:p>
        </p:txBody>
      </p:sp>
      <p:sp>
        <p:nvSpPr>
          <p:cNvPr id="10" name="Textplatzhalter 2"/>
          <p:cNvSpPr txBox="1">
            <a:spLocks noChangeAspect="1"/>
          </p:cNvSpPr>
          <p:nvPr userDrawn="1"/>
        </p:nvSpPr>
        <p:spPr>
          <a:xfrm>
            <a:off x="4823666" y="1801190"/>
            <a:ext cx="707492" cy="153888"/>
          </a:xfrm>
          <a:prstGeom prst="rect">
            <a:avLst/>
          </a:prstGeom>
          <a:solidFill>
            <a:schemeClr val="tx1"/>
          </a:solidFill>
          <a:scene3d>
            <a:camera prst="orthographicFront">
              <a:rot lat="21480000" lon="1380000" rev="0"/>
            </a:camera>
            <a:lightRig rig="threePt" dir="t"/>
          </a:scene3d>
          <a:sp3d/>
        </p:spPr>
        <p:txBody>
          <a:bodyPr vert="horz" wrap="none" lIns="36000" tIns="0" rIns="36000" bIns="0" anchor="ctr" anchorCtr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200" b="1" kern="1200" cap="all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b="0" dirty="0" err="1"/>
              <a:t>Rely</a:t>
            </a:r>
            <a:r>
              <a:rPr lang="de-AT" sz="1000" b="0" dirty="0"/>
              <a:t> on</a:t>
            </a:r>
            <a:endParaRPr lang="de-DE" sz="1000" b="0" dirty="0"/>
          </a:p>
        </p:txBody>
      </p:sp>
      <p:sp>
        <p:nvSpPr>
          <p:cNvPr id="11" name="Textplatzhalter 2"/>
          <p:cNvSpPr txBox="1">
            <a:spLocks noChangeAspect="1"/>
          </p:cNvSpPr>
          <p:nvPr userDrawn="1"/>
        </p:nvSpPr>
        <p:spPr>
          <a:xfrm>
            <a:off x="4280247" y="1975284"/>
            <a:ext cx="1250911" cy="153888"/>
          </a:xfrm>
          <a:prstGeom prst="rect">
            <a:avLst/>
          </a:prstGeom>
          <a:solidFill>
            <a:schemeClr val="tx1"/>
          </a:solidFill>
          <a:scene3d>
            <a:camera prst="orthographicFront">
              <a:rot lat="21480000" lon="1380000" rev="0"/>
            </a:camera>
            <a:lightRig rig="threePt" dir="t"/>
          </a:scene3d>
          <a:sp3d/>
        </p:spPr>
        <p:txBody>
          <a:bodyPr vert="horz" wrap="none" lIns="36000" tIns="0" rIns="36000" bIns="0" anchor="ctr" anchorCtr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200" b="1" kern="1200" cap="all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Wingdings" charset="0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b="0" dirty="0"/>
              <a:t>Austrian Post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2409734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135136" y="311394"/>
            <a:ext cx="2613577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HIER IST PLATZ</a:t>
            </a:r>
            <a:endParaRPr lang="de-DE"/>
          </a:p>
        </p:txBody>
      </p:sp>
      <p:sp>
        <p:nvSpPr>
          <p:cNvPr id="9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5458027" y="680509"/>
            <a:ext cx="3290686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Für eine Headline</a:t>
            </a:r>
            <a:endParaRPr lang="de-DE"/>
          </a:p>
        </p:txBody>
      </p:sp>
      <p:sp>
        <p:nvSpPr>
          <p:cNvPr id="10" name="Textplatzhalter 2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942968" y="1049625"/>
            <a:ext cx="2805745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1-3 Zeilen la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401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95288" y="311394"/>
            <a:ext cx="2613577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HIER IST PLATZ</a:t>
            </a:r>
            <a:endParaRPr lang="de-DE"/>
          </a:p>
        </p:txBody>
      </p:sp>
      <p:sp>
        <p:nvSpPr>
          <p:cNvPr id="6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95288" y="680509"/>
            <a:ext cx="3290686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Für eine Headline</a:t>
            </a:r>
            <a:endParaRPr lang="de-DE"/>
          </a:p>
        </p:txBody>
      </p:sp>
      <p:sp>
        <p:nvSpPr>
          <p:cNvPr id="7" name="Textplatzhalter 2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95288" y="1049625"/>
            <a:ext cx="2805745" cy="338554"/>
          </a:xfrm>
          <a:prstGeom prst="rect">
            <a:avLst/>
          </a:prstGeom>
          <a:solidFill>
            <a:srgbClr val="F5E209"/>
          </a:solidFill>
        </p:spPr>
        <p:txBody>
          <a:bodyPr vert="horz" wrap="none" lIns="184075" tIns="0" rIns="184075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2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1-3 Zeilen la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51093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5DF82F-9FA9-4DCF-A619-FA9AE8A0DA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F3033E4-22B2-44EF-92C3-B65588167B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DD9330-50D9-4085-9C64-F152AB13BF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F4E285-27DF-4DEE-95F4-BBF9E0910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Künstliche Intelligenz @Post AG   |   Konzern-IT / Peter Knapp   |   Krems, 10.11201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14DB5A-409F-4A1F-A413-9684D4F4B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C1003-1C6D-4B1D-93B3-E5EEE544108F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57982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- mit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009" y="947738"/>
            <a:ext cx="2492141" cy="4000604"/>
          </a:xfrm>
          <a:prstGeom prst="rect">
            <a:avLst/>
          </a:prstGeom>
        </p:spPr>
      </p:pic>
      <p:pic>
        <p:nvPicPr>
          <p:cNvPr id="12" name="Bild 11" descr="POST_4C_POSITIV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14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6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040939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7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solidFill>
            <a:srgbClr val="F5E209"/>
          </a:solidFill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</p:spTree>
    <p:extLst>
      <p:ext uri="{BB962C8B-B14F-4D97-AF65-F5344CB8AC3E}">
        <p14:creationId xmlns:p14="http://schemas.microsoft.com/office/powerpoint/2010/main" val="35787010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s -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BBC3C2-183D-489D-A360-A14A6249B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BBC3C2-183D-489D-A360-A14A6249B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INVESTORENPRÄSENTATION   |   Investor Relations   |   Wien, 15. März 2018</a:t>
            </a:r>
            <a:endParaRPr lang="de-DE"/>
          </a:p>
        </p:txBody>
      </p:sp>
      <p:sp>
        <p:nvSpPr>
          <p:cNvPr id="7" name="Line 8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6350">
            <a:solidFill>
              <a:srgbClr val="59595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de-DE" sz="1125">
              <a:cs typeface="+mn-cs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87382" y="951525"/>
            <a:ext cx="8149950" cy="425859"/>
          </a:xfrm>
          <a:prstGeom prst="rect">
            <a:avLst/>
          </a:prstGeom>
        </p:spPr>
        <p:txBody>
          <a:bodyPr vert="horz" wrap="square" lIns="36000" tIns="108000" rIns="108000" bIns="108000">
            <a:spAutoFit/>
          </a:bodyPr>
          <a:lstStyle>
            <a:lvl1pPr>
              <a:defRPr sz="1350" b="0" cap="all">
                <a:latin typeface="+mj-lt"/>
              </a:defRPr>
            </a:lvl1pPr>
          </a:lstStyle>
          <a:p>
            <a:pPr lvl="0"/>
            <a:r>
              <a:rPr lang="de-AT"/>
              <a:t>UNTERTITEL (ARIAL Black)</a:t>
            </a:r>
            <a:endParaRPr lang="de-DE"/>
          </a:p>
        </p:txBody>
      </p:sp>
      <p:sp>
        <p:nvSpPr>
          <p:cNvPr id="4" name="Textfeld 3"/>
          <p:cNvSpPr txBox="1"/>
          <p:nvPr userDrawn="1"/>
        </p:nvSpPr>
        <p:spPr>
          <a:xfrm>
            <a:off x="7025719" y="-498960"/>
            <a:ext cx="184731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125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387382" y="1335899"/>
            <a:ext cx="8149950" cy="3396672"/>
          </a:xfrm>
          <a:prstGeom prst="rect">
            <a:avLst/>
          </a:prstGeom>
        </p:spPr>
        <p:txBody>
          <a:bodyPr wrap="square" lIns="36000" tIns="108000" rIns="108000" bIns="108000">
            <a:sp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350"/>
            </a:lvl1pPr>
            <a:lvl2pPr marL="148500" marR="0" indent="-148500" algn="l" defTabSz="685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350"/>
            </a:lvl2pPr>
            <a:lvl3pPr marL="296466" marR="0" indent="-157163" algn="l" defTabSz="685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350"/>
            </a:lvl3pPr>
            <a:lvl4pPr marL="454819" marR="0" indent="-157163" algn="l" defTabSz="685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350"/>
            </a:lvl4pPr>
            <a:lvl5pPr marL="603647" marR="0" indent="-147638" algn="l" defTabSz="685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350"/>
            </a:lvl5pPr>
          </a:lstStyle>
          <a:p>
            <a:pPr lvl="0"/>
            <a:r>
              <a:rPr lang="de-AT"/>
              <a:t>Mastertextformat bearbeiten (Arial </a:t>
            </a:r>
            <a:r>
              <a:rPr lang="de-AT" err="1"/>
              <a:t>regular</a:t>
            </a:r>
            <a:r>
              <a:rPr lang="de-AT"/>
              <a:t>) 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DE"/>
          </a:p>
        </p:txBody>
      </p:sp>
      <p:sp>
        <p:nvSpPr>
          <p:cNvPr id="11" name="Titel 12"/>
          <p:cNvSpPr>
            <a:spLocks noGrp="1"/>
          </p:cNvSpPr>
          <p:nvPr>
            <p:ph type="title"/>
          </p:nvPr>
        </p:nvSpPr>
        <p:spPr>
          <a:xfrm>
            <a:off x="387382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>
              <a:lnSpc>
                <a:spcPct val="80000"/>
              </a:lnSpc>
              <a:defRPr sz="1650" normalizeH="0" baseline="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5191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- mit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 descr="POST_4C_POSITI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 bwMode="auto">
          <a:xfrm>
            <a:off x="6491695" y="4211043"/>
            <a:ext cx="2653664" cy="46166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19" name="Textplatzhalter 2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280923" y="3187968"/>
            <a:ext cx="3642225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16000" tIns="0" rIns="216000" bIns="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3000" b="0" cap="all" spc="-150" baseline="0">
                <a:latin typeface="+mj-lt"/>
              </a:defRPr>
            </a:lvl1pPr>
          </a:lstStyle>
          <a:p>
            <a:pPr lvl="0"/>
            <a:r>
              <a:rPr lang="de-AT"/>
              <a:t>Hier steht die</a:t>
            </a:r>
            <a:endParaRPr lang="de-DE"/>
          </a:p>
        </p:txBody>
      </p:sp>
      <p:sp>
        <p:nvSpPr>
          <p:cNvPr id="20" name="Textplatzhalter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13527" y="3699506"/>
            <a:ext cx="6309621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16000" tIns="0" rIns="216000" bIns="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3000" b="0" cap="all" spc="-150" baseline="0">
                <a:latin typeface="+mj-lt"/>
              </a:defRPr>
            </a:lvl1pPr>
          </a:lstStyle>
          <a:p>
            <a:pPr lvl="0"/>
            <a:r>
              <a:rPr lang="de-AT"/>
              <a:t>Zwischenüberschrift mit</a:t>
            </a:r>
            <a:endParaRPr lang="de-DE"/>
          </a:p>
        </p:txBody>
      </p:sp>
      <p:sp>
        <p:nvSpPr>
          <p:cNvPr id="21" name="Textplatzhalter 2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70007" y="4211043"/>
            <a:ext cx="6053141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16000" tIns="0" rIns="216000" bIns="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3000" b="0" cap="all" spc="-150" baseline="0">
                <a:latin typeface="+mj-lt"/>
              </a:defRPr>
            </a:lvl1pPr>
          </a:lstStyle>
          <a:p>
            <a:pPr lvl="0"/>
            <a:r>
              <a:rPr lang="de-AT"/>
              <a:t>der Abbildung von </a:t>
            </a:r>
            <a:r>
              <a:rPr lang="de-AT" err="1"/>
              <a:t>poldi</a:t>
            </a:r>
            <a:endParaRPr lang="de-DE"/>
          </a:p>
        </p:txBody>
      </p:sp>
      <p:pic>
        <p:nvPicPr>
          <p:cNvPr id="22" name="Bild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3564" y="1361604"/>
            <a:ext cx="2561000" cy="352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492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- mit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 descr="POST_4C_POSITI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14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14866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6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040939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7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6" descr="Ton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7838" y="3237535"/>
            <a:ext cx="4066162" cy="148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847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- mit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 descr="POST_4C_POSITIV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14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14866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6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040939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7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6" descr="Ton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7838" y="3237535"/>
            <a:ext cx="4066162" cy="148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364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- ohne Balken ohne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932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3327012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2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570776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2066144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561512"/>
            <a:ext cx="4361492" cy="292489"/>
          </a:xfrm>
          <a:prstGeom prst="rect">
            <a:avLst/>
          </a:prstGeom>
          <a:noFill/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sp>
        <p:nvSpPr>
          <p:cNvPr id="9" name="Rechteck 12"/>
          <p:cNvSpPr>
            <a:spLocks noChangeArrowheads="1"/>
          </p:cNvSpPr>
          <p:nvPr userDrawn="1"/>
        </p:nvSpPr>
        <p:spPr bwMode="auto">
          <a:xfrm>
            <a:off x="224205" y="4902996"/>
            <a:ext cx="8695591" cy="145256"/>
          </a:xfrm>
          <a:prstGeom prst="rect">
            <a:avLst/>
          </a:prstGeom>
          <a:solidFill>
            <a:srgbClr val="F7E400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342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- mit Balken ohne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657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3327012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2" name="Textplatzhalter 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04447" y="1570776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2066144"/>
            <a:ext cx="4935302" cy="46166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561512"/>
            <a:ext cx="4361492" cy="292489"/>
          </a:xfrm>
          <a:prstGeom prst="rect">
            <a:avLst/>
          </a:prstGeom>
          <a:solidFill>
            <a:schemeClr val="tx2"/>
          </a:solidFill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sp>
        <p:nvSpPr>
          <p:cNvPr id="9" name="Rechteck 12"/>
          <p:cNvSpPr>
            <a:spLocks noChangeArrowheads="1"/>
          </p:cNvSpPr>
          <p:nvPr userDrawn="1"/>
        </p:nvSpPr>
        <p:spPr bwMode="auto">
          <a:xfrm>
            <a:off x="224205" y="4902996"/>
            <a:ext cx="8695591" cy="145256"/>
          </a:xfrm>
          <a:prstGeom prst="rect">
            <a:avLst/>
          </a:prstGeom>
          <a:solidFill>
            <a:srgbClr val="F7E400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0" name="Bild 9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6606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- ohne Balken mit Cu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427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14363" y="2797175"/>
            <a:ext cx="4129087" cy="8778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lang="en-GB" dirty="0"/>
            </a:lvl1pPr>
          </a:lstStyle>
          <a:p>
            <a:pPr marL="0" lvl="0" indent="0">
              <a:spcBef>
                <a:spcPts val="0"/>
              </a:spcBef>
            </a:pPr>
            <a:r>
              <a:rPr lang="de-DE"/>
              <a:t>Abteilung / Verfasser</a:t>
            </a:r>
            <a:br>
              <a:rPr lang="de-DE"/>
            </a:br>
            <a:r>
              <a:rPr lang="de-DE"/>
              <a:t>Ort, Datum</a:t>
            </a:r>
            <a:endParaRPr lang="en-GB"/>
          </a:p>
        </p:txBody>
      </p:sp>
      <p:sp>
        <p:nvSpPr>
          <p:cNvPr id="13" name="Textplatzhalter 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04447" y="1536307"/>
            <a:ext cx="4935302" cy="461665"/>
          </a:xfrm>
          <a:prstGeom prst="rect">
            <a:avLst/>
          </a:prstGeom>
          <a:noFill/>
        </p:spPr>
        <p:txBody>
          <a:bodyPr vert="horz" wrap="none" lIns="184075" tIns="0" rIns="184075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3000" b="0" cap="all" spc="-128" baseline="0">
                <a:latin typeface="+mj-lt"/>
              </a:defRPr>
            </a:lvl1pPr>
          </a:lstStyle>
          <a:p>
            <a:pPr lvl="0"/>
            <a:r>
              <a:rPr lang="de-AT"/>
              <a:t>Präsentationstitel</a:t>
            </a:r>
            <a:endParaRPr lang="de-DE"/>
          </a:p>
        </p:txBody>
      </p:sp>
      <p:pic>
        <p:nvPicPr>
          <p:cNvPr id="8" name="Bild 11" descr="POST_4C_POSITIV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4813" y="2031675"/>
            <a:ext cx="4361492" cy="292489"/>
          </a:xfrm>
          <a:prstGeom prst="rect">
            <a:avLst/>
          </a:prstGeom>
          <a:noFill/>
        </p:spPr>
        <p:txBody>
          <a:bodyPr wrap="none" lIns="184075" tIns="15340" rIns="184075" bIns="0">
            <a:spAutoFit/>
          </a:bodyPr>
          <a:lstStyle>
            <a:lvl1pPr>
              <a:defRPr lang="de-DE" sz="1800" b="0" cap="all" spc="-128" dirty="0" smtClean="0">
                <a:latin typeface="+mj-lt"/>
                <a:ea typeface="GB18030 Bitmap" charset="0"/>
                <a:cs typeface="GB18030 Bitmap" charset="0"/>
              </a:defRPr>
            </a:lvl1pPr>
          </a:lstStyle>
          <a:p>
            <a:pPr marL="0" lvl="0">
              <a:spcBef>
                <a:spcPts val="0"/>
              </a:spcBef>
            </a:pPr>
            <a:r>
              <a:rPr lang="de-DE"/>
              <a:t>UNTERTITEL (Arial Black, CAPS)</a:t>
            </a:r>
          </a:p>
        </p:txBody>
      </p:sp>
      <p:pic>
        <p:nvPicPr>
          <p:cNvPr id="9" name="Bild 1" descr="TONI_0869_CLAIM_IC.png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589" y="947738"/>
            <a:ext cx="2023046" cy="39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09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640301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4" imgW="270" imgH="270" progId="TCLayout.ActiveDocument.1">
                  <p:embed/>
                </p:oleObj>
              </mc:Choice>
              <mc:Fallback>
                <p:oleObj name="think-cell Folie" r:id="rId3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2"/>
          <p:cNvSpPr>
            <a:spLocks noChangeArrowheads="1"/>
          </p:cNvSpPr>
          <p:nvPr/>
        </p:nvSpPr>
        <p:spPr bwMode="auto">
          <a:xfrm>
            <a:off x="224205" y="4902996"/>
            <a:ext cx="8695591" cy="145256"/>
          </a:xfrm>
          <a:prstGeom prst="rect">
            <a:avLst/>
          </a:prstGeom>
          <a:solidFill>
            <a:srgbClr val="F7E400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8770" y="4906568"/>
            <a:ext cx="6143652" cy="138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de-DE"/>
              <a:t>TITEL DER PRÄSENTATION   |   Abteilung / Verfasser   |   Ort, Datum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-1060353" y="924778"/>
            <a:ext cx="157437" cy="309519"/>
          </a:xfrm>
          <a:prstGeom prst="rect">
            <a:avLst/>
          </a:prstGeom>
          <a:noFill/>
        </p:spPr>
        <p:txBody>
          <a:bodyPr wrap="none" lIns="77925" tIns="38963" rIns="77925" bIns="38963" rtlCol="0">
            <a:spAutoFit/>
          </a:bodyPr>
          <a:lstStyle/>
          <a:p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-335812" y="2148190"/>
            <a:ext cx="157437" cy="309519"/>
          </a:xfrm>
          <a:prstGeom prst="rect">
            <a:avLst/>
          </a:prstGeom>
          <a:noFill/>
        </p:spPr>
        <p:txBody>
          <a:bodyPr wrap="none" lIns="77925" tIns="38963" rIns="77925" bIns="38963" rtlCol="0">
            <a:spAutoFit/>
          </a:bodyPr>
          <a:lstStyle/>
          <a:p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6657109" y="4906567"/>
            <a:ext cx="1342338" cy="138113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74F186D0-D616-FD44-ABDF-00C253D9092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" name="Bild 11" descr="POST_4C_POSITIV.png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602" y="148891"/>
            <a:ext cx="972497" cy="29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639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2" r:id="rId2"/>
    <p:sldLayoutId id="2147483673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50" r:id="rId13"/>
    <p:sldLayoutId id="2147483666" r:id="rId14"/>
    <p:sldLayoutId id="2147483695" r:id="rId15"/>
    <p:sldLayoutId id="2147483684" r:id="rId16"/>
    <p:sldLayoutId id="2147483696" r:id="rId17"/>
    <p:sldLayoutId id="2147483697" r:id="rId18"/>
    <p:sldLayoutId id="2147483698" r:id="rId19"/>
    <p:sldLayoutId id="2147483699" r:id="rId20"/>
    <p:sldLayoutId id="2147483701" r:id="rId21"/>
    <p:sldLayoutId id="2147483702" r:id="rId22"/>
    <p:sldLayoutId id="2147483703" r:id="rId23"/>
    <p:sldLayoutId id="2147483654" r:id="rId24"/>
    <p:sldLayoutId id="2147483655" r:id="rId25"/>
    <p:sldLayoutId id="2147483704" r:id="rId26"/>
    <p:sldLayoutId id="2147483660" r:id="rId27"/>
    <p:sldLayoutId id="2147483665" r:id="rId28"/>
    <p:sldLayoutId id="2147483705" r:id="rId29"/>
    <p:sldLayoutId id="2147483706" r:id="rId30"/>
  </p:sldLayoutIdLst>
  <p:hf hdr="0" dt="0"/>
  <p:txStyles>
    <p:titleStyle>
      <a:lvl1pPr algn="l" defTabSz="389626" rtl="0" eaLnBrk="1" latinLnBrk="0" hangingPunct="1">
        <a:spcBef>
          <a:spcPct val="0"/>
        </a:spcBef>
        <a:buNone/>
        <a:defRPr sz="2000" b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marR="0" indent="-292219" algn="l" defTabSz="779252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Tx/>
        <a:buSzTx/>
        <a:buFont typeface="Wingdings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43516" marR="0" indent="-243516" algn="l" defTabSz="779252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rgbClr val="000000"/>
        </a:buClr>
        <a:buSzTx/>
        <a:buFont typeface="Wingdings" charset="0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36864" marR="0" indent="-178579" algn="l" defTabSz="779252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rgbClr val="595959"/>
        </a:buClr>
        <a:buSzPct val="100000"/>
        <a:buFont typeface="Wingdings" charset="0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6795" marR="0" indent="-178579" algn="l" defTabSz="779252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rgbClr val="8B8B8B"/>
        </a:buClr>
        <a:buSzPct val="100000"/>
        <a:buFont typeface="Wingdings" charset="0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85904" marR="0" indent="-167756" algn="l" defTabSz="779252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rgbClr val="C2C2C2"/>
        </a:buClr>
        <a:buSzTx/>
        <a:buFont typeface="Wingdings" charset="0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sv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64.svg"/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12" Type="http://schemas.openxmlformats.org/officeDocument/2006/relationships/image" Target="../media/image63.png"/><Relationship Id="rId17" Type="http://schemas.openxmlformats.org/officeDocument/2006/relationships/image" Target="../media/image68.svg"/><Relationship Id="rId2" Type="http://schemas.openxmlformats.org/officeDocument/2006/relationships/image" Target="../media/image55.png"/><Relationship Id="rId16" Type="http://schemas.openxmlformats.org/officeDocument/2006/relationships/image" Target="../media/image6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9.png"/><Relationship Id="rId11" Type="http://schemas.openxmlformats.org/officeDocument/2006/relationships/image" Target="../media/image62.svg"/><Relationship Id="rId5" Type="http://schemas.openxmlformats.org/officeDocument/2006/relationships/image" Target="../media/image58.svg"/><Relationship Id="rId15" Type="http://schemas.openxmlformats.org/officeDocument/2006/relationships/image" Target="../media/image66.svg"/><Relationship Id="rId10" Type="http://schemas.openxmlformats.org/officeDocument/2006/relationships/image" Target="../media/image61.png"/><Relationship Id="rId4" Type="http://schemas.openxmlformats.org/officeDocument/2006/relationships/image" Target="../media/image57.png"/><Relationship Id="rId9" Type="http://schemas.openxmlformats.org/officeDocument/2006/relationships/image" Target="../media/image53.svg"/><Relationship Id="rId1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jpg"/><Relationship Id="rId7" Type="http://schemas.openxmlformats.org/officeDocument/2006/relationships/image" Target="../media/image7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laber@post.at" TargetMode="External"/><Relationship Id="rId2" Type="http://schemas.openxmlformats.org/officeDocument/2006/relationships/hyperlink" Target="mailto:christoph.bodner@post.at" TargetMode="External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png"/><Relationship Id="rId3" Type="http://schemas.openxmlformats.org/officeDocument/2006/relationships/image" Target="../media/image48.png"/><Relationship Id="rId7" Type="http://schemas.openxmlformats.org/officeDocument/2006/relationships/image" Target="../media/image78.svg"/><Relationship Id="rId12" Type="http://schemas.openxmlformats.org/officeDocument/2006/relationships/image" Target="../media/image8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7.png"/><Relationship Id="rId11" Type="http://schemas.openxmlformats.org/officeDocument/2006/relationships/image" Target="../media/image82.svg"/><Relationship Id="rId5" Type="http://schemas.openxmlformats.org/officeDocument/2006/relationships/image" Target="../media/image49.png"/><Relationship Id="rId10" Type="http://schemas.openxmlformats.org/officeDocument/2006/relationships/image" Target="../media/image81.png"/><Relationship Id="rId4" Type="http://schemas.openxmlformats.org/officeDocument/2006/relationships/image" Target="../media/image45.png"/><Relationship Id="rId9" Type="http://schemas.openxmlformats.org/officeDocument/2006/relationships/image" Target="../media/image80.svg"/><Relationship Id="rId14" Type="http://schemas.openxmlformats.org/officeDocument/2006/relationships/image" Target="../media/image85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tags" Target="../tags/tag26.xml"/><Relationship Id="rId21" Type="http://schemas.openxmlformats.org/officeDocument/2006/relationships/image" Target="../media/image26.png"/><Relationship Id="rId7" Type="http://schemas.openxmlformats.org/officeDocument/2006/relationships/image" Target="../media/image3.emf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jpg"/><Relationship Id="rId2" Type="http://schemas.openxmlformats.org/officeDocument/2006/relationships/tags" Target="../tags/tag25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6.png"/><Relationship Id="rId24" Type="http://schemas.openxmlformats.org/officeDocument/2006/relationships/image" Target="../media/image29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0.png"/><Relationship Id="rId23" Type="http://schemas.openxmlformats.org/officeDocument/2006/relationships/image" Target="../media/image28.jpg"/><Relationship Id="rId10" Type="http://schemas.openxmlformats.org/officeDocument/2006/relationships/image" Target="../media/image15.jpeg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4.jpg"/><Relationship Id="rId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svg"/><Relationship Id="rId7" Type="http://schemas.openxmlformats.org/officeDocument/2006/relationships/image" Target="../media/image41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0">
            <a:extLst>
              <a:ext uri="{FF2B5EF4-FFF2-40B4-BE49-F238E27FC236}">
                <a16:creationId xmlns:a16="http://schemas.microsoft.com/office/drawing/2014/main" id="{FF809E9E-1C99-4A7B-9003-9BD85CF053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775" b="12903"/>
          <a:stretch/>
        </p:blipFill>
        <p:spPr>
          <a:xfrm>
            <a:off x="0" y="1"/>
            <a:ext cx="9144000" cy="307391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427A86C-0D4F-4B23-9FF4-3A91068F8EF2}"/>
              </a:ext>
            </a:extLst>
          </p:cNvPr>
          <p:cNvSpPr/>
          <p:nvPr/>
        </p:nvSpPr>
        <p:spPr>
          <a:xfrm>
            <a:off x="395288" y="3290259"/>
            <a:ext cx="810932" cy="8948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445735D-7191-4B22-BE7F-D985BC29FBDE}"/>
              </a:ext>
            </a:extLst>
          </p:cNvPr>
          <p:cNvSpPr txBox="1"/>
          <p:nvPr/>
        </p:nvSpPr>
        <p:spPr>
          <a:xfrm>
            <a:off x="395288" y="3474248"/>
            <a:ext cx="88927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300" b="1">
                <a:latin typeface="Arial Black" panose="020B0A04020102020204" pitchFamily="34" charset="0"/>
              </a:rPr>
              <a:t>Serverless with R &amp; Az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0A2BFF3-23A1-43BD-AA55-80F434A4C9E9}"/>
              </a:ext>
            </a:extLst>
          </p:cNvPr>
          <p:cNvSpPr/>
          <p:nvPr/>
        </p:nvSpPr>
        <p:spPr>
          <a:xfrm>
            <a:off x="395288" y="4055063"/>
            <a:ext cx="7476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800" b="1">
                <a:latin typeface="Arial Black" panose="020B0A04020102020204" pitchFamily="34" charset="0"/>
              </a:rPr>
              <a:t>Advanced </a:t>
            </a:r>
            <a:r>
              <a:rPr lang="en-GB" sz="1800" b="1" err="1">
                <a:latin typeface="Arial Black" panose="020B0A04020102020204" pitchFamily="34" charset="0"/>
              </a:rPr>
              <a:t>Analytics@POST</a:t>
            </a:r>
            <a:r>
              <a:rPr lang="en-GB" sz="1800" b="1">
                <a:latin typeface="Arial Black" panose="020B0A04020102020204" pitchFamily="34" charset="0"/>
              </a:rPr>
              <a:t> AG</a:t>
            </a:r>
            <a:endParaRPr lang="en-GB" sz="1800"/>
          </a:p>
        </p:txBody>
      </p:sp>
      <p:pic>
        <p:nvPicPr>
          <p:cNvPr id="14" name="Bild 11" descr="POST_4C_POSITIV.png">
            <a:extLst>
              <a:ext uri="{FF2B5EF4-FFF2-40B4-BE49-F238E27FC236}">
                <a16:creationId xmlns:a16="http://schemas.microsoft.com/office/drawing/2014/main" id="{114A4049-18ED-48A7-8EAC-C90CC2392A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3163" y="4474749"/>
            <a:ext cx="1405890" cy="428209"/>
          </a:xfrm>
          <a:prstGeom prst="rect">
            <a:avLst/>
          </a:prstGeom>
        </p:spPr>
      </p:pic>
      <p:pic>
        <p:nvPicPr>
          <p:cNvPr id="13316" name="Picture 4" descr="Bildergebnis für data science">
            <a:extLst>
              <a:ext uri="{FF2B5EF4-FFF2-40B4-BE49-F238E27FC236}">
                <a16:creationId xmlns:a16="http://schemas.microsoft.com/office/drawing/2014/main" id="{B2892037-F0D6-4B21-9CBF-1902D1E5A3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55"/>
          <a:stretch/>
        </p:blipFill>
        <p:spPr bwMode="auto">
          <a:xfrm>
            <a:off x="0" y="0"/>
            <a:ext cx="9144000" cy="3099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A9B7879-C1EB-4051-B310-3888237201C0}"/>
              </a:ext>
            </a:extLst>
          </p:cNvPr>
          <p:cNvSpPr txBox="1"/>
          <p:nvPr/>
        </p:nvSpPr>
        <p:spPr>
          <a:xfrm>
            <a:off x="395288" y="4554583"/>
            <a:ext cx="343648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hristoph Bodner &amp; Thomas Lab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39009F-9919-4178-8917-32F9D84E4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ata Science Post AG   |   Konzern-IT / Christoph Bodner &amp; Thomas Lab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F4BE6-FABB-4231-B19B-0817206A3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C1003-1C6D-4B1D-93B3-E5EEE544108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659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9CE38EF3-694A-45CD-A43B-57443CC9BF39}"/>
              </a:ext>
            </a:extLst>
          </p:cNvPr>
          <p:cNvCxnSpPr>
            <a:cxnSpLocks/>
          </p:cNvCxnSpPr>
          <p:nvPr/>
        </p:nvCxnSpPr>
        <p:spPr>
          <a:xfrm>
            <a:off x="856004" y="1443914"/>
            <a:ext cx="1364490" cy="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6" name="Rechteck 75">
            <a:extLst>
              <a:ext uri="{FF2B5EF4-FFF2-40B4-BE49-F238E27FC236}">
                <a16:creationId xmlns:a16="http://schemas.microsoft.com/office/drawing/2014/main" id="{1C98CD65-9F55-452D-A73C-8C15F90CC6F3}"/>
              </a:ext>
            </a:extLst>
          </p:cNvPr>
          <p:cNvSpPr/>
          <p:nvPr/>
        </p:nvSpPr>
        <p:spPr bwMode="auto">
          <a:xfrm>
            <a:off x="2556344" y="2557196"/>
            <a:ext cx="4067771" cy="90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>
            <a:noFill/>
            <a:bevel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C7BC0A11-00DE-4383-A27E-CB15BF817263}"/>
              </a:ext>
            </a:extLst>
          </p:cNvPr>
          <p:cNvSpPr txBox="1"/>
          <p:nvPr/>
        </p:nvSpPr>
        <p:spPr>
          <a:xfrm>
            <a:off x="2810335" y="2554691"/>
            <a:ext cx="1134889" cy="25391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Model storage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FF0997E-B03E-4DDF-81D0-AB09E02C26E7}"/>
              </a:ext>
            </a:extLst>
          </p:cNvPr>
          <p:cNvSpPr/>
          <p:nvPr/>
        </p:nvSpPr>
        <p:spPr bwMode="auto">
          <a:xfrm>
            <a:off x="2556344" y="1298513"/>
            <a:ext cx="4067771" cy="90857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>
            <a:noFill/>
            <a:bevel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b="1" dirty="0" err="1"/>
              <a:t>Serverless</a:t>
            </a:r>
            <a:r>
              <a:rPr lang="de-AT" sz="1600" b="1" dirty="0"/>
              <a:t> Data Science Architectur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CC61129-E477-427B-BE69-6E44DB747621}"/>
              </a:ext>
            </a:extLst>
          </p:cNvPr>
          <p:cNvGrpSpPr/>
          <p:nvPr/>
        </p:nvGrpSpPr>
        <p:grpSpPr>
          <a:xfrm>
            <a:off x="497723" y="1055666"/>
            <a:ext cx="716563" cy="716563"/>
            <a:chOff x="1480741" y="1321444"/>
            <a:chExt cx="716563" cy="716563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ED6B3B48-B499-44FA-857B-C72AA26CD15C}"/>
                </a:ext>
              </a:extLst>
            </p:cNvPr>
            <p:cNvSpPr/>
            <p:nvPr/>
          </p:nvSpPr>
          <p:spPr bwMode="auto">
            <a:xfrm>
              <a:off x="1480741" y="1321444"/>
              <a:ext cx="716563" cy="71656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4D9907B9-A1E4-421E-9664-221C51072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25000"/>
            </a:blip>
            <a:stretch>
              <a:fillRect/>
            </a:stretch>
          </p:blipFill>
          <p:spPr>
            <a:xfrm>
              <a:off x="1590038" y="1430741"/>
              <a:ext cx="497969" cy="497969"/>
            </a:xfrm>
            <a:prstGeom prst="rect">
              <a:avLst/>
            </a:prstGeom>
          </p:spPr>
        </p:pic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BF799195-ABFD-49CE-B779-7CD759F598DA}"/>
              </a:ext>
            </a:extLst>
          </p:cNvPr>
          <p:cNvGrpSpPr/>
          <p:nvPr/>
        </p:nvGrpSpPr>
        <p:grpSpPr>
          <a:xfrm>
            <a:off x="4374570" y="1374142"/>
            <a:ext cx="576000" cy="576000"/>
            <a:chOff x="3658973" y="1240143"/>
            <a:chExt cx="716563" cy="716563"/>
          </a:xfrm>
        </p:grpSpPr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5F2B9125-0B57-48D5-82F7-2A43CA15FA38}"/>
                </a:ext>
              </a:extLst>
            </p:cNvPr>
            <p:cNvSpPr/>
            <p:nvPr/>
          </p:nvSpPr>
          <p:spPr bwMode="auto">
            <a:xfrm>
              <a:off x="3658973" y="1240143"/>
              <a:ext cx="716563" cy="716563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92EECB92-8B37-432C-B0C1-0004433B4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3756983" y="1338153"/>
              <a:ext cx="520542" cy="520542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FEF6F63-17F3-47F1-91A4-A16908F48977}"/>
              </a:ext>
            </a:extLst>
          </p:cNvPr>
          <p:cNvGrpSpPr/>
          <p:nvPr/>
        </p:nvGrpSpPr>
        <p:grpSpPr>
          <a:xfrm>
            <a:off x="497654" y="2249567"/>
            <a:ext cx="716563" cy="716563"/>
            <a:chOff x="526472" y="1941224"/>
            <a:chExt cx="716563" cy="716563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5DFC1BA8-8A60-4497-867B-5B4AB95C3BF8}"/>
                </a:ext>
              </a:extLst>
            </p:cNvPr>
            <p:cNvSpPr/>
            <p:nvPr/>
          </p:nvSpPr>
          <p:spPr bwMode="auto">
            <a:xfrm>
              <a:off x="526472" y="1941224"/>
              <a:ext cx="716563" cy="7165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12" name="Grafik 11" descr="Datenbank">
              <a:extLst>
                <a:ext uri="{FF2B5EF4-FFF2-40B4-BE49-F238E27FC236}">
                  <a16:creationId xmlns:a16="http://schemas.microsoft.com/office/drawing/2014/main" id="{355A5415-3910-4A8C-B0EF-E7FCDAB35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7048" y="2001800"/>
              <a:ext cx="595411" cy="595411"/>
            </a:xfrm>
            <a:prstGeom prst="rect">
              <a:avLst/>
            </a:prstGeom>
          </p:spPr>
        </p:pic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2954EFCC-67AD-4443-B45F-9B3826E452F3}"/>
              </a:ext>
            </a:extLst>
          </p:cNvPr>
          <p:cNvSpPr txBox="1"/>
          <p:nvPr/>
        </p:nvSpPr>
        <p:spPr>
          <a:xfrm>
            <a:off x="4095126" y="19501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ool 1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AB9047A-BE4C-4853-A2EB-AAB89B90ABE0}"/>
              </a:ext>
            </a:extLst>
          </p:cNvPr>
          <p:cNvSpPr txBox="1"/>
          <p:nvPr/>
        </p:nvSpPr>
        <p:spPr>
          <a:xfrm>
            <a:off x="5663818" y="19501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ool n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05C03A1-F4F4-4EDB-9EF9-622FA9503959}"/>
              </a:ext>
            </a:extLst>
          </p:cNvPr>
          <p:cNvSpPr txBox="1"/>
          <p:nvPr/>
        </p:nvSpPr>
        <p:spPr>
          <a:xfrm>
            <a:off x="992109" y="1184973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docker pull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8684080-0731-4E77-BAEF-B3359E1D909B}"/>
              </a:ext>
            </a:extLst>
          </p:cNvPr>
          <p:cNvGrpSpPr/>
          <p:nvPr/>
        </p:nvGrpSpPr>
        <p:grpSpPr>
          <a:xfrm>
            <a:off x="2214085" y="1055666"/>
            <a:ext cx="716563" cy="716563"/>
            <a:chOff x="2270428" y="1303875"/>
            <a:chExt cx="716563" cy="716563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772EDE7A-A2D2-4A4C-B6DB-DF292142137D}"/>
                </a:ext>
              </a:extLst>
            </p:cNvPr>
            <p:cNvSpPr/>
            <p:nvPr/>
          </p:nvSpPr>
          <p:spPr bwMode="auto">
            <a:xfrm>
              <a:off x="2270428" y="1303875"/>
              <a:ext cx="716563" cy="716563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617E43C7-E645-4590-90E7-FFEFAB505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biLevel thresh="25000"/>
            </a:blip>
            <a:stretch>
              <a:fillRect/>
            </a:stretch>
          </p:blipFill>
          <p:spPr>
            <a:xfrm>
              <a:off x="2389344" y="1454407"/>
              <a:ext cx="478731" cy="415499"/>
            </a:xfrm>
            <a:prstGeom prst="rect">
              <a:avLst/>
            </a:prstGeom>
          </p:spPr>
        </p:pic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0C0DFAE5-44C9-482E-A156-65F6B6EEC27F}"/>
              </a:ext>
            </a:extLst>
          </p:cNvPr>
          <p:cNvGrpSpPr/>
          <p:nvPr/>
        </p:nvGrpSpPr>
        <p:grpSpPr>
          <a:xfrm>
            <a:off x="5943262" y="1374142"/>
            <a:ext cx="576000" cy="576000"/>
            <a:chOff x="3658973" y="1240143"/>
            <a:chExt cx="716563" cy="716563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CBE7AC54-A37B-4E93-BB6F-319F8786BD11}"/>
                </a:ext>
              </a:extLst>
            </p:cNvPr>
            <p:cNvSpPr/>
            <p:nvPr/>
          </p:nvSpPr>
          <p:spPr bwMode="auto">
            <a:xfrm>
              <a:off x="3658973" y="1240143"/>
              <a:ext cx="716563" cy="716563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1412DDC4-CF87-4BBF-BC99-030000F47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3756983" y="1338153"/>
              <a:ext cx="520542" cy="520542"/>
            </a:xfrm>
            <a:prstGeom prst="rect">
              <a:avLst/>
            </a:prstGeom>
          </p:spPr>
        </p:pic>
      </p:grpSp>
      <p:sp>
        <p:nvSpPr>
          <p:cNvPr id="75" name="Textfeld 74">
            <a:extLst>
              <a:ext uri="{FF2B5EF4-FFF2-40B4-BE49-F238E27FC236}">
                <a16:creationId xmlns:a16="http://schemas.microsoft.com/office/drawing/2014/main" id="{9F0008C7-06F7-4DB8-B246-D908AC74E0D2}"/>
              </a:ext>
            </a:extLst>
          </p:cNvPr>
          <p:cNvSpPr txBox="1"/>
          <p:nvPr/>
        </p:nvSpPr>
        <p:spPr>
          <a:xfrm>
            <a:off x="5248308" y="19501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E39F45C-F5A0-4C4A-A8A0-138281A17D30}"/>
              </a:ext>
            </a:extLst>
          </p:cNvPr>
          <p:cNvGrpSpPr/>
          <p:nvPr/>
        </p:nvGrpSpPr>
        <p:grpSpPr>
          <a:xfrm>
            <a:off x="2198833" y="2255192"/>
            <a:ext cx="716563" cy="716563"/>
            <a:chOff x="2979967" y="1974245"/>
            <a:chExt cx="716563" cy="716563"/>
          </a:xfrm>
        </p:grpSpPr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1ACEE73E-37E0-4EC3-A1FB-0188304A1529}"/>
                </a:ext>
              </a:extLst>
            </p:cNvPr>
            <p:cNvSpPr/>
            <p:nvPr/>
          </p:nvSpPr>
          <p:spPr bwMode="auto">
            <a:xfrm>
              <a:off x="2979967" y="1974245"/>
              <a:ext cx="716563" cy="716563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5ABE48AD-7D54-4023-820D-38C8767D2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>
              <a:off x="3097893" y="2071294"/>
              <a:ext cx="511216" cy="511216"/>
            </a:xfrm>
            <a:prstGeom prst="rect">
              <a:avLst/>
            </a:prstGeom>
          </p:spPr>
        </p:pic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D6DDFFE2-CDA8-48E2-8FF6-A185CC48F4AF}"/>
              </a:ext>
            </a:extLst>
          </p:cNvPr>
          <p:cNvGrpSpPr/>
          <p:nvPr/>
        </p:nvGrpSpPr>
        <p:grpSpPr>
          <a:xfrm>
            <a:off x="5078703" y="1374142"/>
            <a:ext cx="576000" cy="576000"/>
            <a:chOff x="3658973" y="1240143"/>
            <a:chExt cx="716563" cy="716563"/>
          </a:xfrm>
        </p:grpSpPr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25E99D7F-6EAB-4D02-AB67-AF47EB40B730}"/>
                </a:ext>
              </a:extLst>
            </p:cNvPr>
            <p:cNvSpPr/>
            <p:nvPr/>
          </p:nvSpPr>
          <p:spPr bwMode="auto">
            <a:xfrm>
              <a:off x="3658973" y="1240143"/>
              <a:ext cx="716563" cy="716563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90" name="Grafik 89">
              <a:extLst>
                <a:ext uri="{FF2B5EF4-FFF2-40B4-BE49-F238E27FC236}">
                  <a16:creationId xmlns:a16="http://schemas.microsoft.com/office/drawing/2014/main" id="{A3659BB7-D083-4740-8062-FB1D593E7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3756983" y="1338153"/>
              <a:ext cx="520542" cy="520542"/>
            </a:xfrm>
            <a:prstGeom prst="rect">
              <a:avLst/>
            </a:prstGeom>
          </p:spPr>
        </p:pic>
      </p:grpSp>
      <p:sp>
        <p:nvSpPr>
          <p:cNvPr id="91" name="Textfeld 90">
            <a:extLst>
              <a:ext uri="{FF2B5EF4-FFF2-40B4-BE49-F238E27FC236}">
                <a16:creationId xmlns:a16="http://schemas.microsoft.com/office/drawing/2014/main" id="{F113E1C4-22FC-47BE-B61E-295051C1E673}"/>
              </a:ext>
            </a:extLst>
          </p:cNvPr>
          <p:cNvSpPr txBox="1"/>
          <p:nvPr/>
        </p:nvSpPr>
        <p:spPr>
          <a:xfrm>
            <a:off x="4799259" y="19501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ool 2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3" name="Ellipse 92">
            <a:extLst>
              <a:ext uri="{FF2B5EF4-FFF2-40B4-BE49-F238E27FC236}">
                <a16:creationId xmlns:a16="http://schemas.microsoft.com/office/drawing/2014/main" id="{3314ECF0-5A8A-4A3C-9120-618DBE929CE0}"/>
              </a:ext>
            </a:extLst>
          </p:cNvPr>
          <p:cNvSpPr/>
          <p:nvPr/>
        </p:nvSpPr>
        <p:spPr bwMode="auto">
          <a:xfrm>
            <a:off x="4374570" y="2619787"/>
            <a:ext cx="576000" cy="576000"/>
          </a:xfrm>
          <a:prstGeom prst="ellipse">
            <a:avLst/>
          </a:prstGeom>
          <a:solidFill>
            <a:srgbClr val="90D8F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60F05E7C-3DE2-4FFB-833A-B2D7B536136A}"/>
              </a:ext>
            </a:extLst>
          </p:cNvPr>
          <p:cNvSpPr txBox="1"/>
          <p:nvPr/>
        </p:nvSpPr>
        <p:spPr>
          <a:xfrm>
            <a:off x="4095126" y="319578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roject 1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5DD097FA-D260-41F3-9B06-2A630841690F}"/>
              </a:ext>
            </a:extLst>
          </p:cNvPr>
          <p:cNvSpPr txBox="1"/>
          <p:nvPr/>
        </p:nvSpPr>
        <p:spPr>
          <a:xfrm>
            <a:off x="5663818" y="319578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roject n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8" name="Ellipse 97">
            <a:extLst>
              <a:ext uri="{FF2B5EF4-FFF2-40B4-BE49-F238E27FC236}">
                <a16:creationId xmlns:a16="http://schemas.microsoft.com/office/drawing/2014/main" id="{8D018DCE-8D73-44F5-8C44-9A65CC5F9A7E}"/>
              </a:ext>
            </a:extLst>
          </p:cNvPr>
          <p:cNvSpPr/>
          <p:nvPr/>
        </p:nvSpPr>
        <p:spPr bwMode="auto">
          <a:xfrm>
            <a:off x="5943262" y="2619787"/>
            <a:ext cx="576000" cy="576000"/>
          </a:xfrm>
          <a:prstGeom prst="ellipse">
            <a:avLst/>
          </a:prstGeom>
          <a:solidFill>
            <a:srgbClr val="90D8F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4E736949-5668-4F66-B626-D059863DEE53}"/>
              </a:ext>
            </a:extLst>
          </p:cNvPr>
          <p:cNvSpPr txBox="1"/>
          <p:nvPr/>
        </p:nvSpPr>
        <p:spPr>
          <a:xfrm>
            <a:off x="5248308" y="319578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2" name="Ellipse 101">
            <a:extLst>
              <a:ext uri="{FF2B5EF4-FFF2-40B4-BE49-F238E27FC236}">
                <a16:creationId xmlns:a16="http://schemas.microsoft.com/office/drawing/2014/main" id="{57C3EF37-79EE-4DD5-8D83-6CFE9B69CB69}"/>
              </a:ext>
            </a:extLst>
          </p:cNvPr>
          <p:cNvSpPr/>
          <p:nvPr/>
        </p:nvSpPr>
        <p:spPr bwMode="auto">
          <a:xfrm>
            <a:off x="5078703" y="2619787"/>
            <a:ext cx="576000" cy="576000"/>
          </a:xfrm>
          <a:prstGeom prst="ellipse">
            <a:avLst/>
          </a:prstGeom>
          <a:solidFill>
            <a:srgbClr val="90D8F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33950181-A585-4F7E-B178-F9E474A91814}"/>
              </a:ext>
            </a:extLst>
          </p:cNvPr>
          <p:cNvSpPr txBox="1"/>
          <p:nvPr/>
        </p:nvSpPr>
        <p:spPr>
          <a:xfrm>
            <a:off x="4799259" y="319578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Project 2 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05" name="Grafik 104" descr="Geöffneter Ordner">
            <a:extLst>
              <a:ext uri="{FF2B5EF4-FFF2-40B4-BE49-F238E27FC236}">
                <a16:creationId xmlns:a16="http://schemas.microsoft.com/office/drawing/2014/main" id="{86889332-47E4-4955-9C67-605FC49630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65874" y="2701364"/>
            <a:ext cx="405515" cy="405515"/>
          </a:xfrm>
          <a:prstGeom prst="rect">
            <a:avLst/>
          </a:prstGeom>
        </p:spPr>
      </p:pic>
      <p:pic>
        <p:nvPicPr>
          <p:cNvPr id="106" name="Grafik 105" descr="Geöffneter Ordner">
            <a:extLst>
              <a:ext uri="{FF2B5EF4-FFF2-40B4-BE49-F238E27FC236}">
                <a16:creationId xmlns:a16="http://schemas.microsoft.com/office/drawing/2014/main" id="{B4C829BC-4BB3-4E3A-8977-FB6651CD7B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74083" y="2701364"/>
            <a:ext cx="405515" cy="405515"/>
          </a:xfrm>
          <a:prstGeom prst="rect">
            <a:avLst/>
          </a:prstGeom>
        </p:spPr>
      </p:pic>
      <p:pic>
        <p:nvPicPr>
          <p:cNvPr id="107" name="Grafik 106" descr="Geöffneter Ordner">
            <a:extLst>
              <a:ext uri="{FF2B5EF4-FFF2-40B4-BE49-F238E27FC236}">
                <a16:creationId xmlns:a16="http://schemas.microsoft.com/office/drawing/2014/main" id="{3DF67CA2-E65B-45ED-96DC-17FE1CDD10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43300" y="2701364"/>
            <a:ext cx="405515" cy="405515"/>
          </a:xfrm>
          <a:prstGeom prst="rect">
            <a:avLst/>
          </a:prstGeom>
        </p:spPr>
      </p:pic>
      <p:sp>
        <p:nvSpPr>
          <p:cNvPr id="109" name="Textfeld 108">
            <a:extLst>
              <a:ext uri="{FF2B5EF4-FFF2-40B4-BE49-F238E27FC236}">
                <a16:creationId xmlns:a16="http://schemas.microsoft.com/office/drawing/2014/main" id="{7EABC5C2-1D66-4D9C-AC3C-EE62EE5F687E}"/>
              </a:ext>
            </a:extLst>
          </p:cNvPr>
          <p:cNvSpPr txBox="1"/>
          <p:nvPr/>
        </p:nvSpPr>
        <p:spPr>
          <a:xfrm>
            <a:off x="2810335" y="1296104"/>
            <a:ext cx="1134889" cy="25391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Batch Training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DD7EF6CE-B41D-4CDF-BB55-A283C83CAF52}"/>
              </a:ext>
            </a:extLst>
          </p:cNvPr>
          <p:cNvCxnSpPr>
            <a:cxnSpLocks/>
          </p:cNvCxnSpPr>
          <p:nvPr/>
        </p:nvCxnSpPr>
        <p:spPr>
          <a:xfrm flipH="1">
            <a:off x="4671914" y="2173381"/>
            <a:ext cx="15673" cy="455258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64191406-E988-4485-83BC-0903CEF8E5AC}"/>
              </a:ext>
            </a:extLst>
          </p:cNvPr>
          <p:cNvCxnSpPr>
            <a:cxnSpLocks/>
          </p:cNvCxnSpPr>
          <p:nvPr/>
        </p:nvCxnSpPr>
        <p:spPr>
          <a:xfrm flipH="1">
            <a:off x="6223424" y="2157200"/>
            <a:ext cx="15673" cy="455258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2" name="Textfeld 111">
            <a:extLst>
              <a:ext uri="{FF2B5EF4-FFF2-40B4-BE49-F238E27FC236}">
                <a16:creationId xmlns:a16="http://schemas.microsoft.com/office/drawing/2014/main" id="{4B122DA1-B85B-4C5E-BD37-A304A257B4E6}"/>
              </a:ext>
            </a:extLst>
          </p:cNvPr>
          <p:cNvSpPr txBox="1"/>
          <p:nvPr/>
        </p:nvSpPr>
        <p:spPr>
          <a:xfrm>
            <a:off x="4951019" y="2271646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store models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A300FFE-DCE9-4B2F-9318-DDDED321509E}"/>
              </a:ext>
            </a:extLst>
          </p:cNvPr>
          <p:cNvSpPr/>
          <p:nvPr/>
        </p:nvSpPr>
        <p:spPr bwMode="auto">
          <a:xfrm>
            <a:off x="2538114" y="3839451"/>
            <a:ext cx="4067771" cy="9072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>
            <a:noFill/>
            <a:bevel/>
            <a:headEnd/>
            <a:tailEnd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A05FCAA5-7967-49FD-BB91-7DCF0172F148}"/>
              </a:ext>
            </a:extLst>
          </p:cNvPr>
          <p:cNvSpPr txBox="1"/>
          <p:nvPr/>
        </p:nvSpPr>
        <p:spPr>
          <a:xfrm>
            <a:off x="2792105" y="3836946"/>
            <a:ext cx="1134889" cy="25391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schemeClr val="bg1"/>
                </a:solidFill>
                <a:latin typeface="Calibri" panose="020F0502020204030204"/>
              </a:rPr>
              <a:t>Auto-Scaling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39435B7A-586E-43EF-8007-DC37331CDDEF}"/>
              </a:ext>
            </a:extLst>
          </p:cNvPr>
          <p:cNvSpPr/>
          <p:nvPr/>
        </p:nvSpPr>
        <p:spPr bwMode="auto">
          <a:xfrm>
            <a:off x="2180603" y="3537447"/>
            <a:ext cx="716563" cy="71656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9DE2A5B2-B759-41A1-AE88-FB3A9F0E3132}"/>
              </a:ext>
            </a:extLst>
          </p:cNvPr>
          <p:cNvSpPr/>
          <p:nvPr/>
        </p:nvSpPr>
        <p:spPr bwMode="auto">
          <a:xfrm>
            <a:off x="4644789" y="3902042"/>
            <a:ext cx="576000" cy="57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739B8FF7-CFE5-4ABC-A6AA-858A8BBDC9F7}"/>
              </a:ext>
            </a:extLst>
          </p:cNvPr>
          <p:cNvSpPr txBox="1"/>
          <p:nvPr/>
        </p:nvSpPr>
        <p:spPr>
          <a:xfrm>
            <a:off x="4365345" y="44780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Batch Scoring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E9087DB5-551C-407F-8B87-08EE2F0261CC}"/>
              </a:ext>
            </a:extLst>
          </p:cNvPr>
          <p:cNvSpPr txBox="1"/>
          <p:nvPr/>
        </p:nvSpPr>
        <p:spPr>
          <a:xfrm>
            <a:off x="5341079" y="447804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Realtime Scoring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BCD6F372-E869-4B96-B5FC-DB0F6844341C}"/>
              </a:ext>
            </a:extLst>
          </p:cNvPr>
          <p:cNvSpPr/>
          <p:nvPr/>
        </p:nvSpPr>
        <p:spPr bwMode="auto">
          <a:xfrm>
            <a:off x="5620523" y="3902042"/>
            <a:ext cx="576000" cy="57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9C7EFCF7-8779-436D-B89C-0FAD6DF577E4}"/>
              </a:ext>
            </a:extLst>
          </p:cNvPr>
          <p:cNvCxnSpPr>
            <a:cxnSpLocks/>
          </p:cNvCxnSpPr>
          <p:nvPr/>
        </p:nvCxnSpPr>
        <p:spPr>
          <a:xfrm flipH="1">
            <a:off x="4653684" y="3455636"/>
            <a:ext cx="15673" cy="455258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A8E5454A-AFE3-43F8-8BC9-253E815AB28E}"/>
              </a:ext>
            </a:extLst>
          </p:cNvPr>
          <p:cNvCxnSpPr>
            <a:cxnSpLocks/>
          </p:cNvCxnSpPr>
          <p:nvPr/>
        </p:nvCxnSpPr>
        <p:spPr>
          <a:xfrm flipH="1">
            <a:off x="6205194" y="3439455"/>
            <a:ext cx="15673" cy="455258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0" name="Textfeld 129">
            <a:extLst>
              <a:ext uri="{FF2B5EF4-FFF2-40B4-BE49-F238E27FC236}">
                <a16:creationId xmlns:a16="http://schemas.microsoft.com/office/drawing/2014/main" id="{55EE9A61-CB7B-450C-A2EB-C8F0E8186C2D}"/>
              </a:ext>
            </a:extLst>
          </p:cNvPr>
          <p:cNvSpPr txBox="1"/>
          <p:nvPr/>
        </p:nvSpPr>
        <p:spPr>
          <a:xfrm>
            <a:off x="4932789" y="3553901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read models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47F11870-BF64-49B1-84AF-0795AF221888}"/>
              </a:ext>
            </a:extLst>
          </p:cNvPr>
          <p:cNvSpPr txBox="1"/>
          <p:nvPr/>
        </p:nvSpPr>
        <p:spPr>
          <a:xfrm rot="18900000">
            <a:off x="967473" y="1979864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get training data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38" name="Grafik 137" descr="Hierarchie">
            <a:extLst>
              <a:ext uri="{FF2B5EF4-FFF2-40B4-BE49-F238E27FC236}">
                <a16:creationId xmlns:a16="http://schemas.microsoft.com/office/drawing/2014/main" id="{05DAFA84-2A7D-4EBA-86F0-0B095FADA4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2259269" y="3663333"/>
            <a:ext cx="446869" cy="446869"/>
          </a:xfrm>
          <a:prstGeom prst="rect">
            <a:avLst/>
          </a:prstGeom>
        </p:spPr>
      </p:pic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BE2EF515-C388-48F6-9272-68331744BC66}"/>
              </a:ext>
            </a:extLst>
          </p:cNvPr>
          <p:cNvCxnSpPr>
            <a:cxnSpLocks/>
          </p:cNvCxnSpPr>
          <p:nvPr/>
        </p:nvCxnSpPr>
        <p:spPr>
          <a:xfrm rot="2700000">
            <a:off x="987766" y="3420385"/>
            <a:ext cx="1364490" cy="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3" name="Gerade Verbindung mit Pfeil 142">
            <a:extLst>
              <a:ext uri="{FF2B5EF4-FFF2-40B4-BE49-F238E27FC236}">
                <a16:creationId xmlns:a16="http://schemas.microsoft.com/office/drawing/2014/main" id="{E8F7853A-156E-4798-957E-3C14C3DA0AE3}"/>
              </a:ext>
            </a:extLst>
          </p:cNvPr>
          <p:cNvCxnSpPr>
            <a:cxnSpLocks/>
          </p:cNvCxnSpPr>
          <p:nvPr/>
        </p:nvCxnSpPr>
        <p:spPr>
          <a:xfrm rot="18900000">
            <a:off x="1073309" y="2085129"/>
            <a:ext cx="1364490" cy="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5F4730E1-9087-429A-A03F-C59E7556D501}"/>
              </a:ext>
            </a:extLst>
          </p:cNvPr>
          <p:cNvCxnSpPr>
            <a:cxnSpLocks/>
          </p:cNvCxnSpPr>
          <p:nvPr/>
        </p:nvCxnSpPr>
        <p:spPr>
          <a:xfrm rot="13500000">
            <a:off x="732955" y="3483214"/>
            <a:ext cx="1364490" cy="0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5" name="Textfeld 144">
            <a:extLst>
              <a:ext uri="{FF2B5EF4-FFF2-40B4-BE49-F238E27FC236}">
                <a16:creationId xmlns:a16="http://schemas.microsoft.com/office/drawing/2014/main" id="{8108DD4B-41FE-4B48-8A73-F802EE00D6F8}"/>
              </a:ext>
            </a:extLst>
          </p:cNvPr>
          <p:cNvSpPr txBox="1"/>
          <p:nvPr/>
        </p:nvSpPr>
        <p:spPr>
          <a:xfrm rot="2700000">
            <a:off x="1138007" y="312336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get scoring data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9D7A17AF-EC4E-4902-99F3-0526C3D1CE91}"/>
              </a:ext>
            </a:extLst>
          </p:cNvPr>
          <p:cNvSpPr txBox="1"/>
          <p:nvPr/>
        </p:nvSpPr>
        <p:spPr>
          <a:xfrm rot="2700000">
            <a:off x="802026" y="3486557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write results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31949464-7645-4B3E-9BE5-3A1A37BA38C6}"/>
              </a:ext>
            </a:extLst>
          </p:cNvPr>
          <p:cNvCxnSpPr>
            <a:cxnSpLocks/>
          </p:cNvCxnSpPr>
          <p:nvPr/>
        </p:nvCxnSpPr>
        <p:spPr>
          <a:xfrm flipV="1">
            <a:off x="6755412" y="4478040"/>
            <a:ext cx="630000" cy="292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51" name="Textfeld 150">
            <a:extLst>
              <a:ext uri="{FF2B5EF4-FFF2-40B4-BE49-F238E27FC236}">
                <a16:creationId xmlns:a16="http://schemas.microsoft.com/office/drawing/2014/main" id="{8E06BCFE-C322-4355-BA1F-3E220C6A7AEB}"/>
              </a:ext>
            </a:extLst>
          </p:cNvPr>
          <p:cNvSpPr txBox="1"/>
          <p:nvPr/>
        </p:nvSpPr>
        <p:spPr>
          <a:xfrm>
            <a:off x="1153641" y="4341540"/>
            <a:ext cx="6281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Trigger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211049-6568-4C0D-9CA2-7E12E91112E6}"/>
              </a:ext>
            </a:extLst>
          </p:cNvPr>
          <p:cNvSpPr txBox="1"/>
          <p:nvPr/>
        </p:nvSpPr>
        <p:spPr>
          <a:xfrm>
            <a:off x="7267521" y="4372610"/>
            <a:ext cx="6281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 dirty="0">
                <a:solidFill>
                  <a:prstClr val="black"/>
                </a:solidFill>
                <a:latin typeface="Calibri" panose="020F0502020204030204"/>
              </a:rPr>
              <a:t>REST</a:t>
            </a:r>
            <a:endParaRPr kumimoji="0" lang="en-A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17A09B99-8C63-438A-A10E-54CF37AA5C09}"/>
              </a:ext>
            </a:extLst>
          </p:cNvPr>
          <p:cNvCxnSpPr>
            <a:cxnSpLocks/>
          </p:cNvCxnSpPr>
          <p:nvPr/>
        </p:nvCxnSpPr>
        <p:spPr>
          <a:xfrm flipV="1">
            <a:off x="1755554" y="4468498"/>
            <a:ext cx="630000" cy="292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57" name="Grafik 156">
            <a:extLst>
              <a:ext uri="{FF2B5EF4-FFF2-40B4-BE49-F238E27FC236}">
                <a16:creationId xmlns:a16="http://schemas.microsoft.com/office/drawing/2014/main" id="{FD6BCDC6-8809-4042-8FD2-D3B5B8D2B32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biLevel thresh="25000"/>
          </a:blip>
          <a:srcRect l="774" t="1059" r="601" b="1832"/>
          <a:stretch/>
        </p:blipFill>
        <p:spPr>
          <a:xfrm>
            <a:off x="5716174" y="4001415"/>
            <a:ext cx="384699" cy="377254"/>
          </a:xfrm>
          <a:prstGeom prst="rect">
            <a:avLst/>
          </a:prstGeom>
          <a:ln>
            <a:noFill/>
          </a:ln>
        </p:spPr>
      </p:pic>
      <p:pic>
        <p:nvPicPr>
          <p:cNvPr id="158" name="Grafik 157">
            <a:extLst>
              <a:ext uri="{FF2B5EF4-FFF2-40B4-BE49-F238E27FC236}">
                <a16:creationId xmlns:a16="http://schemas.microsoft.com/office/drawing/2014/main" id="{84086170-94BD-4E82-8E11-C5A703EF79E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biLevel thresh="25000"/>
          </a:blip>
          <a:srcRect l="774" t="1059" r="601" b="1832"/>
          <a:stretch/>
        </p:blipFill>
        <p:spPr>
          <a:xfrm>
            <a:off x="4740440" y="4001415"/>
            <a:ext cx="384699" cy="37725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5240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/>
              <a:t>Pros &amp; </a:t>
            </a:r>
            <a:r>
              <a:rPr lang="de-AT" sz="1600" err="1"/>
              <a:t>Cons</a:t>
            </a:r>
            <a:r>
              <a:rPr lang="de-AT" sz="1600"/>
              <a:t> </a:t>
            </a:r>
            <a:r>
              <a:rPr lang="de-AT" sz="1600" err="1"/>
              <a:t>of</a:t>
            </a:r>
            <a:r>
              <a:rPr lang="de-AT" sz="1600"/>
              <a:t> </a:t>
            </a:r>
            <a:r>
              <a:rPr lang="de-AT" sz="1600" err="1"/>
              <a:t>going</a:t>
            </a:r>
            <a:r>
              <a:rPr lang="de-AT" sz="1600"/>
              <a:t> </a:t>
            </a:r>
            <a:r>
              <a:rPr lang="de-AT" sz="1600" err="1"/>
              <a:t>Serverless</a:t>
            </a:r>
            <a:endParaRPr lang="de-AT" sz="1600" b="1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99949B9-2525-4F09-91C4-C9C784A6125A}"/>
              </a:ext>
            </a:extLst>
          </p:cNvPr>
          <p:cNvSpPr/>
          <p:nvPr/>
        </p:nvSpPr>
        <p:spPr bwMode="auto">
          <a:xfrm>
            <a:off x="1783275" y="903355"/>
            <a:ext cx="2667040" cy="46354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de-AT" sz="1800" b="1">
                <a:solidFill>
                  <a:schemeClr val="bg1"/>
                </a:solidFill>
              </a:rPr>
              <a:t>PRO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1C2C09C-0FA1-4EC7-8C3B-BB886608F65A}"/>
              </a:ext>
            </a:extLst>
          </p:cNvPr>
          <p:cNvSpPr/>
          <p:nvPr/>
        </p:nvSpPr>
        <p:spPr bwMode="auto">
          <a:xfrm>
            <a:off x="4716463" y="903355"/>
            <a:ext cx="2667039" cy="4635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de-AT" sz="1800" b="1">
                <a:solidFill>
                  <a:schemeClr val="bg1"/>
                </a:solidFill>
              </a:rPr>
              <a:t>CONs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FAEA7A99-2B1B-4607-AD73-6E09DD13ECEC}"/>
              </a:ext>
            </a:extLst>
          </p:cNvPr>
          <p:cNvCxnSpPr>
            <a:cxnSpLocks/>
          </p:cNvCxnSpPr>
          <p:nvPr/>
        </p:nvCxnSpPr>
        <p:spPr>
          <a:xfrm flipH="1">
            <a:off x="4716463" y="1135127"/>
            <a:ext cx="6349" cy="3725863"/>
          </a:xfrm>
          <a:prstGeom prst="lin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D00C404-19E0-4FAD-8824-4F48E8E1CCFD}"/>
              </a:ext>
            </a:extLst>
          </p:cNvPr>
          <p:cNvCxnSpPr>
            <a:cxnSpLocks/>
          </p:cNvCxnSpPr>
          <p:nvPr/>
        </p:nvCxnSpPr>
        <p:spPr>
          <a:xfrm>
            <a:off x="4427538" y="1135126"/>
            <a:ext cx="0" cy="3725864"/>
          </a:xfrm>
          <a:prstGeom prst="line">
            <a:avLst/>
          </a:prstGeom>
          <a:solidFill>
            <a:schemeClr val="bg1">
              <a:lumMod val="5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7C84F10-0A78-460A-834D-D52D16B997D8}"/>
              </a:ext>
            </a:extLst>
          </p:cNvPr>
          <p:cNvGrpSpPr/>
          <p:nvPr/>
        </p:nvGrpSpPr>
        <p:grpSpPr>
          <a:xfrm>
            <a:off x="1783274" y="1460498"/>
            <a:ext cx="2557765" cy="540000"/>
            <a:chOff x="1783274" y="1797050"/>
            <a:chExt cx="2557765" cy="540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CCB9831-B4A0-492C-819B-A893AF274B87}"/>
                </a:ext>
              </a:extLst>
            </p:cNvPr>
            <p:cNvSpPr/>
            <p:nvPr/>
          </p:nvSpPr>
          <p:spPr bwMode="auto">
            <a:xfrm>
              <a:off x="1783274" y="1797050"/>
              <a:ext cx="540000" cy="540000"/>
            </a:xfrm>
            <a:prstGeom prst="rect">
              <a:avLst/>
            </a:prstGeom>
            <a:solidFill>
              <a:schemeClr val="accent2"/>
            </a:solidFill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0650A8B5-617D-4EDF-AE19-F47B6A8F184D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No maintenance of</a:t>
              </a:r>
            </a:p>
            <a:p>
              <a:pPr algn="ctr"/>
              <a:r>
                <a:rPr lang="en-AU"/>
                <a:t>OS or hardware</a:t>
              </a:r>
            </a:p>
          </p:txBody>
        </p:sp>
      </p:grpSp>
      <p:pic>
        <p:nvPicPr>
          <p:cNvPr id="12" name="Grafik 11" descr="Zahnräder">
            <a:extLst>
              <a:ext uri="{FF2B5EF4-FFF2-40B4-BE49-F238E27FC236}">
                <a16:creationId xmlns:a16="http://schemas.microsoft.com/office/drawing/2014/main" id="{D39704CB-20C6-4B7C-B4D9-2FFE85C6D4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24803" y="1501898"/>
            <a:ext cx="457200" cy="457200"/>
          </a:xfrm>
          <a:prstGeom prst="rect">
            <a:avLst/>
          </a:prstGeom>
        </p:spPr>
      </p:pic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B2BF1133-B6E6-4BBB-86C1-FBA56076D93B}"/>
              </a:ext>
            </a:extLst>
          </p:cNvPr>
          <p:cNvGrpSpPr/>
          <p:nvPr/>
        </p:nvGrpSpPr>
        <p:grpSpPr>
          <a:xfrm>
            <a:off x="1783274" y="2131947"/>
            <a:ext cx="2557765" cy="540000"/>
            <a:chOff x="1783274" y="1797050"/>
            <a:chExt cx="2557765" cy="540000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F4E5CE9F-96ED-4253-864D-66472138A138}"/>
                </a:ext>
              </a:extLst>
            </p:cNvPr>
            <p:cNvSpPr/>
            <p:nvPr/>
          </p:nvSpPr>
          <p:spPr bwMode="auto">
            <a:xfrm>
              <a:off x="1783274" y="1797050"/>
              <a:ext cx="540000" cy="540000"/>
            </a:xfrm>
            <a:prstGeom prst="rect">
              <a:avLst/>
            </a:prstGeom>
            <a:solidFill>
              <a:schemeClr val="accent2"/>
            </a:solidFill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8D77D2CF-5BCE-4DA5-B37F-2D121A000F72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Focus on coding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7BFA0A51-8D49-4B31-87D9-A4CE4C99DC4F}"/>
              </a:ext>
            </a:extLst>
          </p:cNvPr>
          <p:cNvGrpSpPr/>
          <p:nvPr/>
        </p:nvGrpSpPr>
        <p:grpSpPr>
          <a:xfrm>
            <a:off x="1783274" y="2803396"/>
            <a:ext cx="2557765" cy="540000"/>
            <a:chOff x="1783274" y="1797050"/>
            <a:chExt cx="2557765" cy="540000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B0837143-58BB-4FC2-8617-2F88C9AFC8CF}"/>
                </a:ext>
              </a:extLst>
            </p:cNvPr>
            <p:cNvSpPr/>
            <p:nvPr/>
          </p:nvSpPr>
          <p:spPr bwMode="auto">
            <a:xfrm>
              <a:off x="1783274" y="1797050"/>
              <a:ext cx="540000" cy="540000"/>
            </a:xfrm>
            <a:prstGeom prst="rect">
              <a:avLst/>
            </a:prstGeom>
            <a:solidFill>
              <a:schemeClr val="accent2"/>
            </a:solidFill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F61BA4B8-59F3-45CA-8D8F-A6CEB60FA308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Fast iterations from </a:t>
              </a:r>
            </a:p>
            <a:p>
              <a:pPr algn="ctr"/>
              <a:r>
                <a:rPr lang="en-AU"/>
                <a:t>Dev to Prod</a:t>
              </a:r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ACFA1D86-58DF-44B9-9401-E283E6EB093D}"/>
              </a:ext>
            </a:extLst>
          </p:cNvPr>
          <p:cNvGrpSpPr/>
          <p:nvPr/>
        </p:nvGrpSpPr>
        <p:grpSpPr>
          <a:xfrm>
            <a:off x="1783274" y="3474845"/>
            <a:ext cx="2557765" cy="540000"/>
            <a:chOff x="1783274" y="1797050"/>
            <a:chExt cx="2557765" cy="540000"/>
          </a:xfrm>
        </p:grpSpPr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FDAFC1B6-B3EC-4CD7-9496-514123D04DEE}"/>
                </a:ext>
              </a:extLst>
            </p:cNvPr>
            <p:cNvSpPr/>
            <p:nvPr/>
          </p:nvSpPr>
          <p:spPr bwMode="auto">
            <a:xfrm>
              <a:off x="1783274" y="1797050"/>
              <a:ext cx="540000" cy="540000"/>
            </a:xfrm>
            <a:prstGeom prst="rect">
              <a:avLst/>
            </a:prstGeom>
            <a:solidFill>
              <a:schemeClr val="accent2"/>
            </a:solidFill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F3C1B003-3D81-4EED-B537-BF02ED85E7FB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Auto-Scaling easy</a:t>
              </a:r>
            </a:p>
            <a:p>
              <a:pPr algn="ctr"/>
              <a:r>
                <a:rPr lang="en-AU" sz="1000"/>
                <a:t>(depending on service)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7DB64760-83C1-4315-8894-2FF0FC40A497}"/>
              </a:ext>
            </a:extLst>
          </p:cNvPr>
          <p:cNvGrpSpPr/>
          <p:nvPr/>
        </p:nvGrpSpPr>
        <p:grpSpPr>
          <a:xfrm>
            <a:off x="1783274" y="4146295"/>
            <a:ext cx="2557765" cy="540000"/>
            <a:chOff x="1783274" y="1797050"/>
            <a:chExt cx="2557765" cy="540000"/>
          </a:xfrm>
        </p:grpSpPr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3477EF14-3392-424F-A0DB-BD82630BC65C}"/>
                </a:ext>
              </a:extLst>
            </p:cNvPr>
            <p:cNvSpPr/>
            <p:nvPr/>
          </p:nvSpPr>
          <p:spPr bwMode="auto">
            <a:xfrm>
              <a:off x="1783274" y="1797050"/>
              <a:ext cx="540000" cy="540000"/>
            </a:xfrm>
            <a:prstGeom prst="rect">
              <a:avLst/>
            </a:prstGeom>
            <a:solidFill>
              <a:schemeClr val="accent2"/>
            </a:solidFill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C1CC5141-8521-43A3-9289-FBE8FD942B50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accent2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Efficient usage of </a:t>
              </a:r>
            </a:p>
            <a:p>
              <a:pPr algn="ctr"/>
              <a:r>
                <a:rPr lang="en-AU"/>
                <a:t>resources</a:t>
              </a:r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E457F2C1-A1A2-4D90-854D-7814425407A4}"/>
              </a:ext>
            </a:extLst>
          </p:cNvPr>
          <p:cNvGrpSpPr/>
          <p:nvPr/>
        </p:nvGrpSpPr>
        <p:grpSpPr>
          <a:xfrm>
            <a:off x="4802961" y="1460498"/>
            <a:ext cx="2557765" cy="540000"/>
            <a:chOff x="2323274" y="1797050"/>
            <a:chExt cx="2557765" cy="540000"/>
          </a:xfrm>
        </p:grpSpPr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89E6DB48-E370-4B47-BEA4-E9AA77E23906}"/>
                </a:ext>
              </a:extLst>
            </p:cNvPr>
            <p:cNvSpPr/>
            <p:nvPr/>
          </p:nvSpPr>
          <p:spPr bwMode="auto">
            <a:xfrm>
              <a:off x="4341039" y="1797050"/>
              <a:ext cx="540000" cy="54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BFBBBB98-35C0-44FA-9EC9-4E64A14418C4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Potential vendor </a:t>
              </a:r>
            </a:p>
            <a:p>
              <a:pPr algn="ctr"/>
              <a:r>
                <a:rPr lang="en-AU"/>
                <a:t>lock-in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5A75880D-211C-4D14-8BDF-1E63B4347A79}"/>
              </a:ext>
            </a:extLst>
          </p:cNvPr>
          <p:cNvGrpSpPr/>
          <p:nvPr/>
        </p:nvGrpSpPr>
        <p:grpSpPr>
          <a:xfrm>
            <a:off x="4802961" y="2136646"/>
            <a:ext cx="2557765" cy="540000"/>
            <a:chOff x="2323274" y="1797050"/>
            <a:chExt cx="2557765" cy="540000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CF757D90-18BE-4F97-9EFE-F469C95A2D17}"/>
                </a:ext>
              </a:extLst>
            </p:cNvPr>
            <p:cNvSpPr/>
            <p:nvPr/>
          </p:nvSpPr>
          <p:spPr bwMode="auto">
            <a:xfrm>
              <a:off x="4341039" y="1797050"/>
              <a:ext cx="540000" cy="54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4215B2A4-D1F8-4DFB-9E15-35C4B2AD71D1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Durable/long-running</a:t>
              </a:r>
            </a:p>
            <a:p>
              <a:pPr algn="ctr"/>
              <a:r>
                <a:rPr lang="en-AU"/>
                <a:t>Functions?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A9781571-6E16-4259-B3D6-3BE7BC6CE245}"/>
              </a:ext>
            </a:extLst>
          </p:cNvPr>
          <p:cNvGrpSpPr/>
          <p:nvPr/>
        </p:nvGrpSpPr>
        <p:grpSpPr>
          <a:xfrm>
            <a:off x="4798247" y="2812795"/>
            <a:ext cx="2557765" cy="540000"/>
            <a:chOff x="2323274" y="1797050"/>
            <a:chExt cx="2557765" cy="540000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B2D2BB6-5773-4305-A31B-732368DB1B09}"/>
                </a:ext>
              </a:extLst>
            </p:cNvPr>
            <p:cNvSpPr/>
            <p:nvPr/>
          </p:nvSpPr>
          <p:spPr bwMode="auto">
            <a:xfrm>
              <a:off x="4341039" y="1797050"/>
              <a:ext cx="540000" cy="54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en-AU"/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6DA558E-5C72-4D90-AA91-BF9273431499}"/>
                </a:ext>
              </a:extLst>
            </p:cNvPr>
            <p:cNvSpPr/>
            <p:nvPr/>
          </p:nvSpPr>
          <p:spPr bwMode="auto">
            <a:xfrm>
              <a:off x="2323274" y="1797050"/>
              <a:ext cx="2017765" cy="540000"/>
            </a:xfrm>
            <a:prstGeom prst="rect">
              <a:avLst/>
            </a:prstGeom>
            <a:grpFill/>
            <a:ln w="9525" cap="flat">
              <a:solidFill>
                <a:schemeClr val="bg1">
                  <a:lumMod val="50000"/>
                </a:schemeClr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algn="ctr"/>
              <a:r>
                <a:rPr lang="en-AU"/>
                <a:t>Limited control env.</a:t>
              </a:r>
            </a:p>
            <a:p>
              <a:pPr algn="ctr"/>
              <a:r>
                <a:rPr lang="en-AU" sz="1000"/>
                <a:t>(depending on service)</a:t>
              </a:r>
            </a:p>
          </p:txBody>
        </p:sp>
      </p:grpSp>
      <p:pic>
        <p:nvPicPr>
          <p:cNvPr id="16" name="Grafik 15" descr="Laptop">
            <a:extLst>
              <a:ext uri="{FF2B5EF4-FFF2-40B4-BE49-F238E27FC236}">
                <a16:creationId xmlns:a16="http://schemas.microsoft.com/office/drawing/2014/main" id="{7481BD38-3B6F-44F5-9518-03E4890640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7117" y="2191104"/>
            <a:ext cx="467689" cy="467689"/>
          </a:xfrm>
          <a:prstGeom prst="rect">
            <a:avLst/>
          </a:prstGeom>
        </p:spPr>
      </p:pic>
      <p:pic>
        <p:nvPicPr>
          <p:cNvPr id="18" name="Grafik 17" descr="Glühlampe">
            <a:extLst>
              <a:ext uri="{FF2B5EF4-FFF2-40B4-BE49-F238E27FC236}">
                <a16:creationId xmlns:a16="http://schemas.microsoft.com/office/drawing/2014/main" id="{4446C648-FA69-4F38-B382-CA905DDE7A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9429" y="2825495"/>
            <a:ext cx="467689" cy="467689"/>
          </a:xfrm>
          <a:prstGeom prst="rect">
            <a:avLst/>
          </a:prstGeom>
        </p:spPr>
      </p:pic>
      <p:pic>
        <p:nvPicPr>
          <p:cNvPr id="21" name="Grafik 20" descr="Hierarchie">
            <a:extLst>
              <a:ext uri="{FF2B5EF4-FFF2-40B4-BE49-F238E27FC236}">
                <a16:creationId xmlns:a16="http://schemas.microsoft.com/office/drawing/2014/main" id="{87F283A1-D59A-435A-AA1A-0193D32148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19948" y="3486693"/>
            <a:ext cx="467689" cy="467689"/>
          </a:xfrm>
          <a:prstGeom prst="rect">
            <a:avLst/>
          </a:prstGeom>
        </p:spPr>
      </p:pic>
      <p:pic>
        <p:nvPicPr>
          <p:cNvPr id="23" name="Grafik 22" descr="Schild">
            <a:extLst>
              <a:ext uri="{FF2B5EF4-FFF2-40B4-BE49-F238E27FC236}">
                <a16:creationId xmlns:a16="http://schemas.microsoft.com/office/drawing/2014/main" id="{31E99AC1-CADD-42BB-83DC-CE63F5EA3D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12335" y="4182450"/>
            <a:ext cx="467689" cy="467689"/>
          </a:xfrm>
          <a:prstGeom prst="rect">
            <a:avLst/>
          </a:prstGeom>
        </p:spPr>
      </p:pic>
      <p:pic>
        <p:nvPicPr>
          <p:cNvPr id="25" name="Grafik 24" descr="Uhr">
            <a:extLst>
              <a:ext uri="{FF2B5EF4-FFF2-40B4-BE49-F238E27FC236}">
                <a16:creationId xmlns:a16="http://schemas.microsoft.com/office/drawing/2014/main" id="{4251D48E-B396-4887-9EAA-A06F9C751E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52167" y="2175099"/>
            <a:ext cx="467689" cy="467689"/>
          </a:xfrm>
          <a:prstGeom prst="rect">
            <a:avLst/>
          </a:prstGeom>
        </p:spPr>
      </p:pic>
      <p:pic>
        <p:nvPicPr>
          <p:cNvPr id="29" name="Grafik 28" descr="Eimer und Schaufel">
            <a:extLst>
              <a:ext uri="{FF2B5EF4-FFF2-40B4-BE49-F238E27FC236}">
                <a16:creationId xmlns:a16="http://schemas.microsoft.com/office/drawing/2014/main" id="{68736BDB-B0C9-4981-A8EE-B1E7289957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26748" y="2839551"/>
            <a:ext cx="467689" cy="467689"/>
          </a:xfrm>
          <a:prstGeom prst="rect">
            <a:avLst/>
          </a:prstGeom>
        </p:spPr>
      </p:pic>
      <p:pic>
        <p:nvPicPr>
          <p:cNvPr id="32" name="Grafik 31" descr="Zaun">
            <a:extLst>
              <a:ext uri="{FF2B5EF4-FFF2-40B4-BE49-F238E27FC236}">
                <a16:creationId xmlns:a16="http://schemas.microsoft.com/office/drawing/2014/main" id="{AAA1C4C7-6429-46D4-B523-3050B754BD9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43464" y="1521200"/>
            <a:ext cx="467689" cy="467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638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hteck 51">
            <a:extLst>
              <a:ext uri="{FF2B5EF4-FFF2-40B4-BE49-F238E27FC236}">
                <a16:creationId xmlns:a16="http://schemas.microsoft.com/office/drawing/2014/main" id="{32FF6DF0-F7EC-4F6A-9B99-A76A28D89B40}"/>
              </a:ext>
            </a:extLst>
          </p:cNvPr>
          <p:cNvSpPr/>
          <p:nvPr/>
        </p:nvSpPr>
        <p:spPr bwMode="auto">
          <a:xfrm>
            <a:off x="6387718" y="4500873"/>
            <a:ext cx="2189545" cy="1987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dirty="0" err="1"/>
              <a:t>Popular</a:t>
            </a:r>
            <a:r>
              <a:rPr lang="de-AT" sz="1600" dirty="0"/>
              <a:t> </a:t>
            </a:r>
            <a:r>
              <a:rPr lang="de-AT" sz="1600" dirty="0" err="1"/>
              <a:t>Platforms</a:t>
            </a:r>
            <a:r>
              <a:rPr lang="de-AT" sz="1600" dirty="0"/>
              <a:t> and Frameworks</a:t>
            </a:r>
            <a:endParaRPr lang="de-AT" sz="1600" b="1" dirty="0"/>
          </a:p>
        </p:txBody>
      </p:sp>
      <p:pic>
        <p:nvPicPr>
          <p:cNvPr id="8" name="Grafik 7" descr="Ein Bild, das Schild enthält.&#10;&#10;Mit hoher Zuverlässigkeit generierte Beschreibung">
            <a:extLst>
              <a:ext uri="{FF2B5EF4-FFF2-40B4-BE49-F238E27FC236}">
                <a16:creationId xmlns:a16="http://schemas.microsoft.com/office/drawing/2014/main" id="{8FED68F1-2A90-41EA-91E5-7B00140AF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2678" y="1518221"/>
            <a:ext cx="795238" cy="79523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2E3A312-E16A-4A66-B53E-C0ED855182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8693" y="3569818"/>
            <a:ext cx="1320273" cy="87051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F306952-6514-46FE-8A33-74D35078E2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24" t="6745" r="35875" b="7477"/>
          <a:stretch/>
        </p:blipFill>
        <p:spPr>
          <a:xfrm>
            <a:off x="7529848" y="1534783"/>
            <a:ext cx="893108" cy="7952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6F3D391-82A6-42C3-83CD-7644E3FB3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254" y="2751033"/>
            <a:ext cx="1977437" cy="590759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775847D-67F0-4243-8174-E5CE6492BE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360" r="9600"/>
          <a:stretch/>
        </p:blipFill>
        <p:spPr>
          <a:xfrm>
            <a:off x="7047251" y="2770628"/>
            <a:ext cx="888994" cy="795238"/>
          </a:xfrm>
          <a:prstGeom prst="rect">
            <a:avLst/>
          </a:prstGeom>
        </p:spPr>
      </p:pic>
      <p:pic>
        <p:nvPicPr>
          <p:cNvPr id="21" name="Grafik 20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1C643F38-FA76-4DE9-B0E1-129D4B66C5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3509" y="2093012"/>
            <a:ext cx="1265110" cy="1037917"/>
          </a:xfrm>
          <a:prstGeom prst="rect">
            <a:avLst/>
          </a:prstGeom>
        </p:spPr>
      </p:pic>
      <p:pic>
        <p:nvPicPr>
          <p:cNvPr id="27" name="Grafik 26" descr="Ein Bild, das Objekt enthält.&#10;&#10;Mit hoher Zuverlässigkeit generierte Beschreibung">
            <a:extLst>
              <a:ext uri="{FF2B5EF4-FFF2-40B4-BE49-F238E27FC236}">
                <a16:creationId xmlns:a16="http://schemas.microsoft.com/office/drawing/2014/main" id="{DDCFABB5-8D0B-4C7F-BDCB-C7C09398D8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8964" y="2611970"/>
            <a:ext cx="1265110" cy="1037917"/>
          </a:xfrm>
          <a:prstGeom prst="rect">
            <a:avLst/>
          </a:prstGeom>
          <a:ln>
            <a:solidFill>
              <a:schemeClr val="bg1"/>
            </a:solidFill>
          </a:ln>
        </p:spPr>
      </p:pic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0F49D7A-1E86-48BD-BCDF-888F8F99893A}"/>
              </a:ext>
            </a:extLst>
          </p:cNvPr>
          <p:cNvCxnSpPr>
            <a:cxnSpLocks/>
          </p:cNvCxnSpPr>
          <p:nvPr/>
        </p:nvCxnSpPr>
        <p:spPr>
          <a:xfrm>
            <a:off x="2274074" y="3046413"/>
            <a:ext cx="813774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BB466088-8B16-4283-9B91-A1222B2C0190}"/>
              </a:ext>
            </a:extLst>
          </p:cNvPr>
          <p:cNvCxnSpPr>
            <a:cxnSpLocks/>
          </p:cNvCxnSpPr>
          <p:nvPr/>
        </p:nvCxnSpPr>
        <p:spPr>
          <a:xfrm>
            <a:off x="5072436" y="3046414"/>
            <a:ext cx="971550" cy="17805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242" name="Picture 2" descr="Bildergebnis für oracle fn">
            <a:extLst>
              <a:ext uri="{FF2B5EF4-FFF2-40B4-BE49-F238E27FC236}">
                <a16:creationId xmlns:a16="http://schemas.microsoft.com/office/drawing/2014/main" id="{DE765007-916B-4813-A282-2DFD04926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642" y="3486544"/>
            <a:ext cx="1324621" cy="59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C07FDDA1-8823-4951-83F0-C3A18A30D3F5}"/>
              </a:ext>
            </a:extLst>
          </p:cNvPr>
          <p:cNvCxnSpPr>
            <a:cxnSpLocks/>
          </p:cNvCxnSpPr>
          <p:nvPr/>
        </p:nvCxnSpPr>
        <p:spPr>
          <a:xfrm>
            <a:off x="6043986" y="2093012"/>
            <a:ext cx="0" cy="1945588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525C28F-99CE-45C9-95EA-3AF6A9C77BC7}"/>
              </a:ext>
            </a:extLst>
          </p:cNvPr>
          <p:cNvCxnSpPr>
            <a:cxnSpLocks/>
          </p:cNvCxnSpPr>
          <p:nvPr/>
        </p:nvCxnSpPr>
        <p:spPr>
          <a:xfrm>
            <a:off x="6034433" y="4027488"/>
            <a:ext cx="353285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50106BA-8802-4C06-9753-1F05AF7C0077}"/>
              </a:ext>
            </a:extLst>
          </p:cNvPr>
          <p:cNvCxnSpPr>
            <a:cxnSpLocks/>
          </p:cNvCxnSpPr>
          <p:nvPr/>
        </p:nvCxnSpPr>
        <p:spPr>
          <a:xfrm>
            <a:off x="6034433" y="2100950"/>
            <a:ext cx="353285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B04D31A-7DED-4C8C-9428-DB4580C29712}"/>
              </a:ext>
            </a:extLst>
          </p:cNvPr>
          <p:cNvSpPr/>
          <p:nvPr/>
        </p:nvSpPr>
        <p:spPr bwMode="auto">
          <a:xfrm>
            <a:off x="6387718" y="1485297"/>
            <a:ext cx="2189545" cy="1072077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D11593-F994-44AB-9367-0AEDF4FD1BBC}"/>
              </a:ext>
            </a:extLst>
          </p:cNvPr>
          <p:cNvSpPr/>
          <p:nvPr/>
        </p:nvSpPr>
        <p:spPr bwMode="auto">
          <a:xfrm>
            <a:off x="6387718" y="2690476"/>
            <a:ext cx="2189545" cy="2009178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2FFCCF1-8F43-478F-AD26-17EBF812F4C0}"/>
              </a:ext>
            </a:extLst>
          </p:cNvPr>
          <p:cNvSpPr txBox="1"/>
          <p:nvPr/>
        </p:nvSpPr>
        <p:spPr>
          <a:xfrm>
            <a:off x="6964598" y="4469722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Docker runtime</a:t>
            </a:r>
          </a:p>
        </p:txBody>
      </p:sp>
      <p:sp>
        <p:nvSpPr>
          <p:cNvPr id="46" name="Sprechblase: rechteckig 45">
            <a:extLst>
              <a:ext uri="{FF2B5EF4-FFF2-40B4-BE49-F238E27FC236}">
                <a16:creationId xmlns:a16="http://schemas.microsoft.com/office/drawing/2014/main" id="{334FC885-ED3A-4DC8-BEE8-1AE4160F57E4}"/>
              </a:ext>
            </a:extLst>
          </p:cNvPr>
          <p:cNvSpPr/>
          <p:nvPr/>
        </p:nvSpPr>
        <p:spPr bwMode="auto">
          <a:xfrm>
            <a:off x="3644873" y="1896512"/>
            <a:ext cx="2092648" cy="763579"/>
          </a:xfrm>
          <a:prstGeom prst="wedgeRectCallout">
            <a:avLst>
              <a:gd name="adj1" fmla="val -39615"/>
              <a:gd name="adj2" fmla="val 79964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de-AT" dirty="0"/>
              <a:t>Cloud </a:t>
            </a:r>
            <a:r>
              <a:rPr lang="de-AT" dirty="0" err="1"/>
              <a:t>agnostic</a:t>
            </a:r>
            <a:r>
              <a:rPr lang="de-AT" dirty="0"/>
              <a:t> </a:t>
            </a:r>
          </a:p>
          <a:p>
            <a:pPr algn="ctr"/>
            <a:r>
              <a:rPr lang="de-AT" dirty="0" err="1"/>
              <a:t>serverless</a:t>
            </a:r>
            <a:r>
              <a:rPr lang="de-AT" dirty="0"/>
              <a:t> </a:t>
            </a:r>
            <a:r>
              <a:rPr lang="de-AT" dirty="0" err="1"/>
              <a:t>framework</a:t>
            </a:r>
            <a:endParaRPr lang="de-AT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A7495961-1053-4317-A5C9-F0C7559FD21C}"/>
              </a:ext>
            </a:extLst>
          </p:cNvPr>
          <p:cNvSpPr txBox="1"/>
          <p:nvPr/>
        </p:nvSpPr>
        <p:spPr>
          <a:xfrm>
            <a:off x="7613893" y="3343101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2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2097B170-D7DB-4C0D-AD8A-275678FCB0A2}"/>
              </a:ext>
            </a:extLst>
          </p:cNvPr>
          <p:cNvCxnSpPr>
            <a:cxnSpLocks/>
          </p:cNvCxnSpPr>
          <p:nvPr/>
        </p:nvCxnSpPr>
        <p:spPr>
          <a:xfrm>
            <a:off x="6287275" y="1350963"/>
            <a:ext cx="2411069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5F89FBD4-F132-48F0-9C62-6D523A4C5081}"/>
              </a:ext>
            </a:extLst>
          </p:cNvPr>
          <p:cNvSpPr txBox="1"/>
          <p:nvPr/>
        </p:nvSpPr>
        <p:spPr>
          <a:xfrm>
            <a:off x="6287275" y="1015889"/>
            <a:ext cx="2411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kern="0" dirty="0">
                <a:solidFill>
                  <a:prstClr val="black"/>
                </a:solidFill>
                <a:latin typeface="Calibri" panose="020F0502020204030204"/>
              </a:rPr>
              <a:t>Overview Function Platforms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BD3C0BD-6343-48F5-9A49-413D9B6F74BA}"/>
              </a:ext>
            </a:extLst>
          </p:cNvPr>
          <p:cNvSpPr/>
          <p:nvPr/>
        </p:nvSpPr>
        <p:spPr bwMode="auto">
          <a:xfrm>
            <a:off x="6387718" y="2358377"/>
            <a:ext cx="2189545" cy="1987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B991B49F-23B0-48C5-B733-10B63CF4A144}"/>
              </a:ext>
            </a:extLst>
          </p:cNvPr>
          <p:cNvSpPr txBox="1"/>
          <p:nvPr/>
        </p:nvSpPr>
        <p:spPr>
          <a:xfrm>
            <a:off x="6897923" y="2329697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Fixed runtimes</a:t>
            </a:r>
          </a:p>
        </p:txBody>
      </p:sp>
      <p:pic>
        <p:nvPicPr>
          <p:cNvPr id="60" name="Bild 9">
            <a:extLst>
              <a:ext uri="{FF2B5EF4-FFF2-40B4-BE49-F238E27FC236}">
                <a16:creationId xmlns:a16="http://schemas.microsoft.com/office/drawing/2014/main" id="{46FAA263-E115-4937-A6F5-7718641A0811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  <p:sp>
        <p:nvSpPr>
          <p:cNvPr id="63" name="Sprechblase: rechteckig 62">
            <a:extLst>
              <a:ext uri="{FF2B5EF4-FFF2-40B4-BE49-F238E27FC236}">
                <a16:creationId xmlns:a16="http://schemas.microsoft.com/office/drawing/2014/main" id="{D81C60F1-64DB-4E4A-AB92-D603D218C22D}"/>
              </a:ext>
            </a:extLst>
          </p:cNvPr>
          <p:cNvSpPr/>
          <p:nvPr/>
        </p:nvSpPr>
        <p:spPr bwMode="auto">
          <a:xfrm>
            <a:off x="3202256" y="3960059"/>
            <a:ext cx="2753000" cy="763579"/>
          </a:xfrm>
          <a:prstGeom prst="wedgeRectCallout">
            <a:avLst>
              <a:gd name="adj1" fmla="val 50963"/>
              <a:gd name="adj2" fmla="val -103406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wrap="square" rtlCol="0" anchor="ctr"/>
          <a:lstStyle/>
          <a:p>
            <a:pPr algn="ctr"/>
            <a:r>
              <a:rPr lang="de-AT" dirty="0" err="1"/>
              <a:t>You</a:t>
            </a:r>
            <a:r>
              <a:rPr lang="de-AT" dirty="0"/>
              <a:t> </a:t>
            </a:r>
            <a:r>
              <a:rPr lang="de-AT" dirty="0" err="1"/>
              <a:t>can</a:t>
            </a:r>
            <a:r>
              <a:rPr lang="de-AT" dirty="0"/>
              <a:t> also </a:t>
            </a:r>
            <a:r>
              <a:rPr lang="de-AT" dirty="0" err="1"/>
              <a:t>create</a:t>
            </a:r>
            <a:r>
              <a:rPr lang="de-AT" dirty="0"/>
              <a:t> a </a:t>
            </a:r>
            <a:r>
              <a:rPr lang="de-AT" dirty="0" err="1"/>
              <a:t>functions</a:t>
            </a:r>
            <a:r>
              <a:rPr lang="de-AT" dirty="0"/>
              <a:t> </a:t>
            </a:r>
            <a:r>
              <a:rPr lang="de-AT" dirty="0" err="1"/>
              <a:t>runtime</a:t>
            </a:r>
            <a:r>
              <a:rPr lang="de-AT" dirty="0"/>
              <a:t> on </a:t>
            </a:r>
          </a:p>
          <a:p>
            <a:pPr algn="ctr"/>
            <a:r>
              <a:rPr lang="de-AT" dirty="0" err="1"/>
              <a:t>Kubernetes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</a:t>
            </a:r>
            <a:r>
              <a:rPr lang="de-AT" dirty="0" err="1"/>
              <a:t>Kubeles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77618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389616"/>
            <a:fld id="{74F186D0-D616-FD44-ABDF-00C253D90924}" type="slidenum">
              <a:rPr lang="de-DE">
                <a:solidFill>
                  <a:srgbClr val="000000"/>
                </a:solidFill>
                <a:latin typeface="Arial"/>
              </a:rPr>
              <a:pPr defTabSz="389616"/>
              <a:t>13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Bild 9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1" y="4222739"/>
            <a:ext cx="600075" cy="871949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F52009D-B315-49E4-B417-ED1A6C137674}"/>
              </a:ext>
            </a:extLst>
          </p:cNvPr>
          <p:cNvCxnSpPr/>
          <p:nvPr/>
        </p:nvCxnSpPr>
        <p:spPr>
          <a:xfrm>
            <a:off x="251223" y="1757363"/>
            <a:ext cx="864155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0AE1A312-3717-4DA0-BC71-4894852EDF06}"/>
              </a:ext>
            </a:extLst>
          </p:cNvPr>
          <p:cNvSpPr txBox="1"/>
          <p:nvPr/>
        </p:nvSpPr>
        <p:spPr>
          <a:xfrm>
            <a:off x="422687" y="2057399"/>
            <a:ext cx="16775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Topic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A5F031C-81D7-4D6B-AA36-15755B6842B5}"/>
              </a:ext>
            </a:extLst>
          </p:cNvPr>
          <p:cNvGrpSpPr/>
          <p:nvPr/>
        </p:nvGrpSpPr>
        <p:grpSpPr>
          <a:xfrm>
            <a:off x="1796032" y="1180282"/>
            <a:ext cx="2221200" cy="2346750"/>
            <a:chOff x="2171700" y="1180282"/>
            <a:chExt cx="2221200" cy="2346750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F0F53795-8436-4E51-B822-D82DFED5D179}"/>
                </a:ext>
              </a:extLst>
            </p:cNvPr>
            <p:cNvSpPr txBox="1"/>
            <p:nvPr/>
          </p:nvSpPr>
          <p:spPr>
            <a:xfrm>
              <a:off x="2171700" y="1180282"/>
              <a:ext cx="89296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1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2597B59-C60C-43B1-9736-D5197BB463E1}"/>
                </a:ext>
              </a:extLst>
            </p:cNvPr>
            <p:cNvSpPr txBox="1"/>
            <p:nvPr/>
          </p:nvSpPr>
          <p:spPr>
            <a:xfrm>
              <a:off x="2171700" y="2057399"/>
              <a:ext cx="2221200" cy="1469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bg1">
                      <a:lumMod val="50000"/>
                    </a:schemeClr>
                  </a:solidFill>
                </a:rPr>
                <a:t>Who we are</a:t>
              </a:r>
            </a:p>
            <a:p>
              <a:r>
                <a:rPr lang="en-GB" sz="700" dirty="0">
                  <a:solidFill>
                    <a:schemeClr val="bg1">
                      <a:lumMod val="50000"/>
                    </a:schemeClr>
                  </a:solidFill>
                </a:rPr>
                <a:t>(obligatory marketing stuff…)</a:t>
              </a:r>
            </a:p>
            <a:p>
              <a:endParaRPr lang="en-GB" dirty="0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US" sz="1050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</a:rPr>
                <a:t>Data </a:t>
              </a:r>
              <a:r>
                <a:rPr lang="en-US" sz="1050" dirty="0" err="1">
                  <a:solidFill>
                    <a:schemeClr val="bg1">
                      <a:lumMod val="50000"/>
                    </a:schemeClr>
                  </a:solidFill>
                </a:rPr>
                <a:t>Science@Post</a:t>
              </a:r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</a:rPr>
                <a:t> AG: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</a:rPr>
                <a:t>Overview: Post AG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>
                  <a:solidFill>
                    <a:schemeClr val="bg1">
                      <a:lumMod val="50000"/>
                    </a:schemeClr>
                  </a:solidFill>
                </a:rPr>
                <a:t>Interdisciplinary team</a:t>
              </a:r>
            </a:p>
            <a:p>
              <a:endParaRPr lang="en-US" sz="105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AE37307-EFA0-49CD-9F68-71C67974A913}"/>
              </a:ext>
            </a:extLst>
          </p:cNvPr>
          <p:cNvGrpSpPr/>
          <p:nvPr/>
        </p:nvGrpSpPr>
        <p:grpSpPr>
          <a:xfrm>
            <a:off x="3971329" y="1180282"/>
            <a:ext cx="2221707" cy="2308278"/>
            <a:chOff x="4003716" y="1180282"/>
            <a:chExt cx="2221707" cy="2308278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3720DA6-7426-4B7C-A8CC-744E1C954841}"/>
                </a:ext>
              </a:extLst>
            </p:cNvPr>
            <p:cNvSpPr txBox="1"/>
            <p:nvPr/>
          </p:nvSpPr>
          <p:spPr>
            <a:xfrm>
              <a:off x="4165652" y="1180282"/>
              <a:ext cx="1193006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 dirty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2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0C4DA709-D232-4644-BA3C-AC42ECEB8963}"/>
                </a:ext>
              </a:extLst>
            </p:cNvPr>
            <p:cNvSpPr txBox="1"/>
            <p:nvPr/>
          </p:nvSpPr>
          <p:spPr>
            <a:xfrm>
              <a:off x="4003716" y="2057399"/>
              <a:ext cx="2221707" cy="143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bg1">
                      <a:lumMod val="50000"/>
                    </a:schemeClr>
                  </a:solidFill>
                </a:rPr>
                <a:t>Serverless – Why care?</a:t>
              </a:r>
            </a:p>
            <a:p>
              <a:endParaRPr lang="en-GB" dirty="0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GB" dirty="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 dirty="0">
                  <a:solidFill>
                    <a:schemeClr val="bg1">
                      <a:lumMod val="50000"/>
                    </a:schemeClr>
                  </a:solidFill>
                </a:rPr>
                <a:t>Overview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>
                  <a:solidFill>
                    <a:schemeClr val="bg1">
                      <a:lumMod val="50000"/>
                    </a:schemeClr>
                  </a:solidFill>
                </a:rPr>
                <a:t>Pros and Cons 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>
                  <a:solidFill>
                    <a:schemeClr val="bg1">
                      <a:lumMod val="50000"/>
                    </a:schemeClr>
                  </a:solidFill>
                </a:rPr>
                <a:t>Popular platforms + frameworks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B2BDE9B-A969-4325-9062-F27B3F679DE3}"/>
              </a:ext>
            </a:extLst>
          </p:cNvPr>
          <p:cNvGrpSpPr/>
          <p:nvPr/>
        </p:nvGrpSpPr>
        <p:grpSpPr>
          <a:xfrm>
            <a:off x="6315075" y="1180282"/>
            <a:ext cx="2221706" cy="2793026"/>
            <a:chOff x="6315075" y="1180282"/>
            <a:chExt cx="2221706" cy="2793026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AF883563-83DD-4C41-8C7D-6E67FDA079AF}"/>
                </a:ext>
              </a:extLst>
            </p:cNvPr>
            <p:cNvSpPr txBox="1"/>
            <p:nvPr/>
          </p:nvSpPr>
          <p:spPr>
            <a:xfrm>
              <a:off x="6315076" y="1180282"/>
              <a:ext cx="84772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latin typeface="Arial Black" panose="020B0A04020102020204" pitchFamily="34" charset="0"/>
                </a:rPr>
                <a:t>O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B41AE1-DD64-41F1-AD99-A8AF0C33A4A1}"/>
                </a:ext>
              </a:extLst>
            </p:cNvPr>
            <p:cNvSpPr txBox="1"/>
            <p:nvPr/>
          </p:nvSpPr>
          <p:spPr>
            <a:xfrm>
              <a:off x="6315075" y="2057399"/>
              <a:ext cx="2221706" cy="191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Serverless R in Azure</a:t>
              </a:r>
            </a:p>
            <a:p>
              <a:endParaRPr lang="en-GB" dirty="0"/>
            </a:p>
            <a:p>
              <a:endParaRPr lang="en-GB" dirty="0"/>
            </a:p>
            <a:p>
              <a:r>
                <a:rPr lang="en-GB" sz="1050" dirty="0"/>
                <a:t>Lots of options for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Batch processing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Realtime processing</a:t>
              </a:r>
            </a:p>
            <a:p>
              <a:pPr marL="171450" indent="-171450">
                <a:buFontTx/>
                <a:buChar char="-"/>
              </a:pPr>
              <a:endParaRPr lang="en-GB" sz="1050" dirty="0"/>
            </a:p>
            <a:p>
              <a:r>
                <a:rPr lang="en-GB" sz="1050" dirty="0"/>
                <a:t>Case Studies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U-SQL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Azure Functions</a:t>
              </a:r>
            </a:p>
          </p:txBody>
        </p:sp>
      </p:grpSp>
      <p:sp>
        <p:nvSpPr>
          <p:cNvPr id="19" name="Titel 4">
            <a:extLst>
              <a:ext uri="{FF2B5EF4-FFF2-40B4-BE49-F238E27FC236}">
                <a16:creationId xmlns:a16="http://schemas.microsoft.com/office/drawing/2014/main" id="{93A0F7C1-6269-4641-99E7-EF5300D84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687" y="279500"/>
            <a:ext cx="5413757" cy="312628"/>
          </a:xfrm>
        </p:spPr>
        <p:txBody>
          <a:bodyPr/>
          <a:lstStyle/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357022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4DA02C75-39C4-4C4A-8C9F-28A585DDA851}"/>
              </a:ext>
            </a:extLst>
          </p:cNvPr>
          <p:cNvCxnSpPr/>
          <p:nvPr/>
        </p:nvCxnSpPr>
        <p:spPr>
          <a:xfrm>
            <a:off x="402995" y="3162300"/>
            <a:ext cx="834571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38C57F8-2359-4614-8F8C-F767608554EF}"/>
              </a:ext>
            </a:extLst>
          </p:cNvPr>
          <p:cNvCxnSpPr/>
          <p:nvPr/>
        </p:nvCxnSpPr>
        <p:spPr>
          <a:xfrm>
            <a:off x="402995" y="3838575"/>
            <a:ext cx="834571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121D3FD-407E-43D7-BE7A-278EB2FA0770}"/>
              </a:ext>
            </a:extLst>
          </p:cNvPr>
          <p:cNvCxnSpPr/>
          <p:nvPr/>
        </p:nvCxnSpPr>
        <p:spPr>
          <a:xfrm>
            <a:off x="402995" y="4533900"/>
            <a:ext cx="834571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A5CEE54-7CE4-403F-A94E-FE5F0034F3D5}"/>
              </a:ext>
            </a:extLst>
          </p:cNvPr>
          <p:cNvCxnSpPr/>
          <p:nvPr/>
        </p:nvCxnSpPr>
        <p:spPr>
          <a:xfrm>
            <a:off x="402995" y="2124075"/>
            <a:ext cx="834571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Serverless R in Azure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dirty="0" err="1"/>
              <a:t>Overview</a:t>
            </a:r>
            <a:r>
              <a:rPr lang="de-AT" sz="1600" dirty="0"/>
              <a:t> </a:t>
            </a:r>
            <a:r>
              <a:rPr lang="de-AT" sz="1600" dirty="0" err="1"/>
              <a:t>ServerLess</a:t>
            </a:r>
            <a:r>
              <a:rPr lang="de-AT" sz="1600" dirty="0"/>
              <a:t> Services </a:t>
            </a:r>
            <a:r>
              <a:rPr lang="de-AT" sz="1600" dirty="0" err="1"/>
              <a:t>for</a:t>
            </a:r>
            <a:r>
              <a:rPr lang="de-AT" sz="1600" dirty="0"/>
              <a:t> R</a:t>
            </a:r>
            <a:endParaRPr lang="de-AT" sz="1600" b="1" dirty="0"/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D6917977-EA6D-4292-8928-2E1E83E39C47}"/>
              </a:ext>
            </a:extLst>
          </p:cNvPr>
          <p:cNvSpPr txBox="1">
            <a:spLocks/>
          </p:cNvSpPr>
          <p:nvPr/>
        </p:nvSpPr>
        <p:spPr>
          <a:xfrm>
            <a:off x="402995" y="1023938"/>
            <a:ext cx="4024543" cy="337459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89626"/>
            <a:r>
              <a:rPr lang="en-AU" sz="1500"/>
              <a:t>Quite a lot of different serverless services …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C86406DA-BDDB-4252-AC6E-1086660B7FBF}"/>
              </a:ext>
            </a:extLst>
          </p:cNvPr>
          <p:cNvSpPr txBox="1">
            <a:spLocks/>
          </p:cNvSpPr>
          <p:nvPr/>
        </p:nvSpPr>
        <p:spPr>
          <a:xfrm>
            <a:off x="4716462" y="1023938"/>
            <a:ext cx="4024543" cy="337459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89626"/>
            <a:r>
              <a:rPr lang="en-AU" sz="1500"/>
              <a:t>… R support/integration varies a lo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5E70876-0A1F-4601-8B40-7AB67E3FB894}"/>
              </a:ext>
            </a:extLst>
          </p:cNvPr>
          <p:cNvSpPr txBox="1"/>
          <p:nvPr/>
        </p:nvSpPr>
        <p:spPr>
          <a:xfrm>
            <a:off x="402995" y="1376341"/>
            <a:ext cx="4032250" cy="3512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zure ML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zure </a:t>
            </a:r>
            <a:r>
              <a:rPr lang="de-AT" err="1"/>
              <a:t>Functions</a:t>
            </a:r>
            <a:r>
              <a:rPr lang="de-AT"/>
              <a:t> (v1 and v2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zure Container </a:t>
            </a:r>
            <a:r>
              <a:rPr lang="de-AT" err="1"/>
              <a:t>Instances</a:t>
            </a:r>
            <a:r>
              <a:rPr lang="de-AT"/>
              <a:t> + </a:t>
            </a:r>
            <a:r>
              <a:rPr lang="de-AT" err="1"/>
              <a:t>Logic</a:t>
            </a:r>
            <a:r>
              <a:rPr lang="de-AT"/>
              <a:t> App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U-SQL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 err="1"/>
              <a:t>AzureBatch</a:t>
            </a:r>
            <a:endParaRPr lang="de-AT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A91D60A-2D5B-447E-9701-57F85CA9BAE8}"/>
              </a:ext>
            </a:extLst>
          </p:cNvPr>
          <p:cNvSpPr txBox="1"/>
          <p:nvPr/>
        </p:nvSpPr>
        <p:spPr>
          <a:xfrm>
            <a:off x="4716463" y="1376341"/>
            <a:ext cx="4032250" cy="3512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zure ML </a:t>
            </a:r>
            <a:r>
              <a:rPr lang="de-AT" err="1"/>
              <a:t>has</a:t>
            </a:r>
            <a:r>
              <a:rPr lang="de-AT"/>
              <a:t> </a:t>
            </a:r>
            <a:r>
              <a:rPr lang="de-AT" err="1"/>
              <a:t>drag</a:t>
            </a:r>
            <a:r>
              <a:rPr lang="de-AT"/>
              <a:t> &amp; </a:t>
            </a:r>
            <a:r>
              <a:rPr lang="de-AT" err="1"/>
              <a:t>drop</a:t>
            </a:r>
            <a:r>
              <a:rPr lang="de-AT"/>
              <a:t>, but </a:t>
            </a:r>
            <a:r>
              <a:rPr lang="de-AT" err="1"/>
              <a:t>old</a:t>
            </a:r>
            <a:r>
              <a:rPr lang="de-AT"/>
              <a:t> </a:t>
            </a:r>
            <a:r>
              <a:rPr lang="de-AT" err="1"/>
              <a:t>runtime</a:t>
            </a:r>
            <a:r>
              <a:rPr lang="de-AT"/>
              <a:t> (R 3.1.1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zure </a:t>
            </a:r>
            <a:r>
              <a:rPr lang="de-AT" err="1"/>
              <a:t>Functions</a:t>
            </a:r>
            <a:r>
              <a:rPr lang="de-AT"/>
              <a:t> v1 </a:t>
            </a:r>
            <a:r>
              <a:rPr lang="de-AT" err="1"/>
              <a:t>can</a:t>
            </a:r>
            <a:r>
              <a:rPr lang="de-AT"/>
              <a:t> support R </a:t>
            </a:r>
            <a:r>
              <a:rPr lang="de-AT" err="1"/>
              <a:t>with</a:t>
            </a:r>
            <a:r>
              <a:rPr lang="de-AT"/>
              <a:t> </a:t>
            </a:r>
            <a:r>
              <a:rPr lang="de-AT" err="1"/>
              <a:t>site</a:t>
            </a:r>
            <a:r>
              <a:rPr lang="de-AT"/>
              <a:t> </a:t>
            </a:r>
            <a:r>
              <a:rPr lang="de-AT" err="1"/>
              <a:t>extension</a:t>
            </a:r>
            <a:r>
              <a:rPr lang="de-AT"/>
              <a:t>, v2 </a:t>
            </a:r>
            <a:r>
              <a:rPr lang="de-AT" err="1"/>
              <a:t>can</a:t>
            </a:r>
            <a:r>
              <a:rPr lang="de-AT"/>
              <a:t> support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natively</a:t>
            </a:r>
            <a:r>
              <a:rPr lang="de-AT"/>
              <a:t> in </a:t>
            </a:r>
            <a:r>
              <a:rPr lang="de-AT" err="1"/>
              <a:t>theory</a:t>
            </a: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ACI </a:t>
            </a:r>
            <a:r>
              <a:rPr lang="de-AT" err="1"/>
              <a:t>is</a:t>
            </a:r>
            <a:r>
              <a:rPr lang="de-AT"/>
              <a:t> Docker-</a:t>
            </a:r>
            <a:r>
              <a:rPr lang="de-AT" err="1"/>
              <a:t>as</a:t>
            </a:r>
            <a:r>
              <a:rPr lang="de-AT"/>
              <a:t>-a-Service, so </a:t>
            </a:r>
            <a:r>
              <a:rPr lang="de-AT" err="1"/>
              <a:t>it</a:t>
            </a:r>
            <a:r>
              <a:rPr lang="de-AT"/>
              <a:t> </a:t>
            </a:r>
            <a:r>
              <a:rPr lang="de-AT" err="1"/>
              <a:t>supports</a:t>
            </a:r>
            <a:r>
              <a:rPr lang="de-AT"/>
              <a:t> R fully + </a:t>
            </a:r>
            <a:r>
              <a:rPr lang="de-AT" err="1"/>
              <a:t>graphical</a:t>
            </a:r>
            <a:r>
              <a:rPr lang="de-AT"/>
              <a:t> </a:t>
            </a:r>
            <a:r>
              <a:rPr lang="de-AT" err="1"/>
              <a:t>workflows</a:t>
            </a:r>
            <a:r>
              <a:rPr lang="de-AT"/>
              <a:t> (</a:t>
            </a:r>
            <a:r>
              <a:rPr lang="de-AT" err="1"/>
              <a:t>Logic</a:t>
            </a:r>
            <a:r>
              <a:rPr lang="de-AT"/>
              <a:t> Apps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/>
              <a:t>U-SQL </a:t>
            </a:r>
            <a:r>
              <a:rPr lang="de-AT" err="1"/>
              <a:t>allows</a:t>
            </a:r>
            <a:r>
              <a:rPr lang="de-AT"/>
              <a:t>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integrate</a:t>
            </a:r>
            <a:r>
              <a:rPr lang="de-AT"/>
              <a:t> R 3.2.2 </a:t>
            </a:r>
            <a:r>
              <a:rPr lang="de-AT" err="1"/>
              <a:t>into</a:t>
            </a:r>
            <a:r>
              <a:rPr lang="de-AT"/>
              <a:t> </a:t>
            </a:r>
            <a:r>
              <a:rPr lang="de-AT" err="1"/>
              <a:t>Map-Reduce</a:t>
            </a:r>
            <a:r>
              <a:rPr lang="de-AT"/>
              <a:t> </a:t>
            </a:r>
            <a:r>
              <a:rPr lang="de-AT" err="1"/>
              <a:t>piplelines</a:t>
            </a:r>
            <a:endParaRPr lang="de-AT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AT" err="1"/>
              <a:t>AzureBatch</a:t>
            </a:r>
            <a:r>
              <a:rPr lang="de-AT"/>
              <a:t> </a:t>
            </a:r>
            <a:r>
              <a:rPr lang="de-AT" err="1"/>
              <a:t>supports</a:t>
            </a:r>
            <a:r>
              <a:rPr lang="de-AT"/>
              <a:t> </a:t>
            </a:r>
            <a:r>
              <a:rPr lang="de-AT" err="1"/>
              <a:t>arbitrary</a:t>
            </a:r>
            <a:r>
              <a:rPr lang="de-AT"/>
              <a:t> </a:t>
            </a:r>
            <a:r>
              <a:rPr lang="de-AT" err="1"/>
              <a:t>runtimes</a:t>
            </a:r>
            <a:endParaRPr lang="de-AT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ACA8F33-513E-4C13-89FE-0585D1AEEE6B}"/>
              </a:ext>
            </a:extLst>
          </p:cNvPr>
          <p:cNvSpPr/>
          <p:nvPr/>
        </p:nvSpPr>
        <p:spPr bwMode="auto">
          <a:xfrm>
            <a:off x="4427538" y="1023938"/>
            <a:ext cx="296631" cy="38644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046151FE-D4B7-45F7-AF8F-E63EF1E973BE}"/>
              </a:ext>
            </a:extLst>
          </p:cNvPr>
          <p:cNvSpPr/>
          <p:nvPr/>
        </p:nvSpPr>
        <p:spPr bwMode="auto">
          <a:xfrm rot="5400000">
            <a:off x="3205869" y="2737558"/>
            <a:ext cx="2732261" cy="2476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pic>
        <p:nvPicPr>
          <p:cNvPr id="18" name="Bild 9">
            <a:extLst>
              <a:ext uri="{FF2B5EF4-FFF2-40B4-BE49-F238E27FC236}">
                <a16:creationId xmlns:a16="http://schemas.microsoft.com/office/drawing/2014/main" id="{112B7A69-B9FC-48D9-90CD-92D9F2BFB8C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0" y="4222738"/>
            <a:ext cx="600075" cy="8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015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5" descr="Imagesujet.jpg">
            <a:extLst>
              <a:ext uri="{FF2B5EF4-FFF2-40B4-BE49-F238E27FC236}">
                <a16:creationId xmlns:a16="http://schemas.microsoft.com/office/drawing/2014/main" id="{EC09FDC1-624E-4A96-961F-69EAD519CB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888"/>
          <a:stretch/>
        </p:blipFill>
        <p:spPr>
          <a:xfrm flipH="1">
            <a:off x="-198" y="-53341"/>
            <a:ext cx="9144000" cy="5196842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6FD93D-DD7E-4558-A8B4-BB1CAC11F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B68E87-FADB-4C32-BA31-023F12605D7F}"/>
              </a:ext>
            </a:extLst>
          </p:cNvPr>
          <p:cNvSpPr/>
          <p:nvPr/>
        </p:nvSpPr>
        <p:spPr bwMode="auto">
          <a:xfrm>
            <a:off x="5608561" y="524107"/>
            <a:ext cx="3166946" cy="823681"/>
          </a:xfrm>
          <a:prstGeom prst="rect">
            <a:avLst/>
          </a:prstGeom>
          <a:grp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r"/>
            <a:endParaRPr lang="de-AT" sz="18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482123C-814F-4158-91C7-C30CCC4F7D14}"/>
              </a:ext>
            </a:extLst>
          </p:cNvPr>
          <p:cNvSpPr/>
          <p:nvPr/>
        </p:nvSpPr>
        <p:spPr bwMode="auto">
          <a:xfrm>
            <a:off x="5497049" y="635001"/>
            <a:ext cx="3278458" cy="712787"/>
          </a:xfrm>
          <a:prstGeom prst="rect">
            <a:avLst/>
          </a:prstGeom>
          <a:grp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r"/>
            <a:endParaRPr lang="de-AT" sz="18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DF2991-13F9-4AE8-A49A-F2406C531BB6}"/>
              </a:ext>
            </a:extLst>
          </p:cNvPr>
          <p:cNvSpPr/>
          <p:nvPr/>
        </p:nvSpPr>
        <p:spPr bwMode="auto">
          <a:xfrm>
            <a:off x="5296327" y="524108"/>
            <a:ext cx="3479180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>
                <a:latin typeface="+mj-lt"/>
                <a:ea typeface="+mj-ea"/>
                <a:cs typeface="+mj-cs"/>
              </a:rPr>
              <a:t>CASE </a:t>
            </a:r>
            <a:r>
              <a:rPr lang="de-AT" sz="2400" cap="all" dirty="0" err="1">
                <a:latin typeface="+mj-lt"/>
                <a:ea typeface="+mj-ea"/>
                <a:cs typeface="+mj-cs"/>
              </a:rPr>
              <a:t>sTUDY</a:t>
            </a:r>
            <a:endParaRPr lang="de-AT" sz="2400" cap="all" dirty="0"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1D1BF8A-2F1F-4069-AB1D-555E74806168}"/>
              </a:ext>
            </a:extLst>
          </p:cNvPr>
          <p:cNvSpPr/>
          <p:nvPr/>
        </p:nvSpPr>
        <p:spPr bwMode="auto">
          <a:xfrm>
            <a:off x="4716463" y="1458681"/>
            <a:ext cx="4059044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>
                <a:latin typeface="+mj-lt"/>
                <a:ea typeface="+mj-ea"/>
                <a:cs typeface="+mj-cs"/>
              </a:rPr>
              <a:t>Azure </a:t>
            </a:r>
            <a:r>
              <a:rPr lang="de-AT" sz="2400" cap="all" dirty="0" err="1">
                <a:latin typeface="+mj-lt"/>
                <a:ea typeface="+mj-ea"/>
                <a:cs typeface="+mj-cs"/>
              </a:rPr>
              <a:t>Functions</a:t>
            </a:r>
            <a:endParaRPr lang="de-AT" sz="2400" cap="all" dirty="0"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215201-4BC9-420A-8E62-3C35D4BA10EE}"/>
              </a:ext>
            </a:extLst>
          </p:cNvPr>
          <p:cNvSpPr/>
          <p:nvPr/>
        </p:nvSpPr>
        <p:spPr bwMode="auto">
          <a:xfrm>
            <a:off x="6311088" y="991395"/>
            <a:ext cx="2464419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>
                <a:latin typeface="+mj-lt"/>
                <a:ea typeface="+mj-ea"/>
                <a:cs typeface="+mj-cs"/>
              </a:rPr>
              <a:t>Realtime</a:t>
            </a:r>
          </a:p>
        </p:txBody>
      </p:sp>
    </p:spTree>
    <p:extLst>
      <p:ext uri="{BB962C8B-B14F-4D97-AF65-F5344CB8AC3E}">
        <p14:creationId xmlns:p14="http://schemas.microsoft.com/office/powerpoint/2010/main" val="1956076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Azure Function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b="1" dirty="0" err="1"/>
              <a:t>Overview</a:t>
            </a:r>
            <a:endParaRPr lang="de-AT" sz="1600" b="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FCB992E-FEBA-441D-9E7D-73FF2FAE7020}"/>
              </a:ext>
            </a:extLst>
          </p:cNvPr>
          <p:cNvSpPr txBox="1"/>
          <p:nvPr/>
        </p:nvSpPr>
        <p:spPr>
          <a:xfrm>
            <a:off x="395287" y="1385888"/>
            <a:ext cx="402454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Two different runtimes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AU"/>
              <a:t>Version 1 and Version 2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AU"/>
              <a:t>v2 is written in .net core and is therefore cross plattform + supports custom linux container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AU"/>
              <a:t>v2 currently supports no consumption plan 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AU"/>
              <a:t>v2 supports arbitrary Linux Docker container</a:t>
            </a:r>
          </a:p>
          <a:p>
            <a:pPr marL="285750" indent="-285750">
              <a:buFontTx/>
              <a:buChar char="-"/>
            </a:pPr>
            <a:endParaRPr lang="en-AU"/>
          </a:p>
          <a:p>
            <a:endParaRPr lang="en-AU"/>
          </a:p>
          <a:p>
            <a:endParaRPr lang="en-AU"/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390691FF-E43C-432F-A55D-262B60AECDF6}"/>
              </a:ext>
            </a:extLst>
          </p:cNvPr>
          <p:cNvSpPr txBox="1">
            <a:spLocks/>
          </p:cNvSpPr>
          <p:nvPr/>
        </p:nvSpPr>
        <p:spPr>
          <a:xfrm>
            <a:off x="402995" y="1023938"/>
            <a:ext cx="4024543" cy="337459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89626"/>
            <a:r>
              <a:rPr lang="en-AU" sz="1500" dirty="0"/>
              <a:t>Tech specs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E4752E41-D51B-483D-9971-FF9322C03615}"/>
              </a:ext>
            </a:extLst>
          </p:cNvPr>
          <p:cNvSpPr txBox="1">
            <a:spLocks/>
          </p:cNvSpPr>
          <p:nvPr/>
        </p:nvSpPr>
        <p:spPr>
          <a:xfrm>
            <a:off x="4716462" y="1023938"/>
            <a:ext cx="4024543" cy="337459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89626"/>
            <a:r>
              <a:rPr lang="en-AU" sz="1500" dirty="0"/>
              <a:t>Integrating 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20949BF-8DEE-4CC5-8DC6-75445DEE4988}"/>
              </a:ext>
            </a:extLst>
          </p:cNvPr>
          <p:cNvSpPr txBox="1"/>
          <p:nvPr/>
        </p:nvSpPr>
        <p:spPr>
          <a:xfrm>
            <a:off x="4724172" y="1385888"/>
            <a:ext cx="402454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Version 1:</a:t>
            </a:r>
          </a:p>
          <a:p>
            <a:pPr marL="285750" indent="-285750">
              <a:buFontTx/>
              <a:buChar char="-"/>
            </a:pPr>
            <a:r>
              <a:rPr lang="en-AU" dirty="0"/>
              <a:t>Call R site-extension with </a:t>
            </a:r>
            <a:r>
              <a:rPr lang="en-AU" dirty="0" err="1"/>
              <a:t>Powershell</a:t>
            </a:r>
            <a:r>
              <a:rPr lang="en-AU" dirty="0"/>
              <a:t>/Python/C# etc</a:t>
            </a:r>
          </a:p>
          <a:p>
            <a:pPr marL="285750" indent="-285750">
              <a:buFontTx/>
              <a:buChar char="-"/>
            </a:pPr>
            <a:r>
              <a:rPr lang="en-AU" dirty="0"/>
              <a:t>Consumption plan possible</a:t>
            </a:r>
          </a:p>
          <a:p>
            <a:pPr marL="285750" indent="-285750">
              <a:buFontTx/>
              <a:buChar char="-"/>
            </a:pPr>
            <a:r>
              <a:rPr lang="en-AU" dirty="0"/>
              <a:t>Very easy to implement</a:t>
            </a:r>
          </a:p>
          <a:p>
            <a:endParaRPr lang="en-AU" dirty="0"/>
          </a:p>
          <a:p>
            <a:endParaRPr lang="en-AU" dirty="0"/>
          </a:p>
          <a:p>
            <a:r>
              <a:rPr lang="en-AU" dirty="0"/>
              <a:t>Version 2:</a:t>
            </a:r>
          </a:p>
          <a:p>
            <a:pPr marL="285750" indent="-285750">
              <a:buFontTx/>
              <a:buChar char="-"/>
            </a:pPr>
            <a:r>
              <a:rPr lang="en-AU" dirty="0"/>
              <a:t>Implementation of arbitrary language workers, so R can be a first-class Azure function citizen</a:t>
            </a:r>
            <a:r>
              <a:rPr lang="en-AU" dirty="0">
                <a:sym typeface="Wingdings" panose="05000000000000000000" pitchFamily="2" charset="2"/>
              </a:rPr>
              <a:t></a:t>
            </a:r>
          </a:p>
          <a:p>
            <a:pPr marL="285750" indent="-285750">
              <a:buFontTx/>
              <a:buChar char="-"/>
            </a:pPr>
            <a:r>
              <a:rPr lang="en-AU" dirty="0">
                <a:sym typeface="Wingdings" panose="05000000000000000000" pitchFamily="2" charset="2"/>
              </a:rPr>
              <a:t>Alternatively, call R from C#/F# etc.</a:t>
            </a:r>
            <a:endParaRPr lang="en-AU" dirty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C7EB7656-2479-44DD-9A13-0DA5EBE56DD0}"/>
              </a:ext>
            </a:extLst>
          </p:cNvPr>
          <p:cNvSpPr/>
          <p:nvPr/>
        </p:nvSpPr>
        <p:spPr bwMode="auto">
          <a:xfrm>
            <a:off x="1714501" y="4203417"/>
            <a:ext cx="3105150" cy="614804"/>
          </a:xfrm>
          <a:prstGeom prst="wedgeRectCallout">
            <a:avLst>
              <a:gd name="adj1" fmla="val 58812"/>
              <a:gd name="adj2" fmla="val -1190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Interested in helping?</a:t>
            </a:r>
          </a:p>
        </p:txBody>
      </p:sp>
    </p:spTree>
    <p:extLst>
      <p:ext uri="{BB962C8B-B14F-4D97-AF65-F5344CB8AC3E}">
        <p14:creationId xmlns:p14="http://schemas.microsoft.com/office/powerpoint/2010/main" val="2694831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Azure Function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b="1" dirty="0"/>
              <a:t>Demo</a:t>
            </a:r>
          </a:p>
        </p:txBody>
      </p:sp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B98556D2-EEF6-43BF-B928-F3ABDDBB79B3}"/>
              </a:ext>
            </a:extLst>
          </p:cNvPr>
          <p:cNvSpPr/>
          <p:nvPr/>
        </p:nvSpPr>
        <p:spPr bwMode="auto">
          <a:xfrm>
            <a:off x="975709" y="1697052"/>
            <a:ext cx="2456711" cy="874698"/>
          </a:xfrm>
          <a:prstGeom prst="wedgeRectCallout">
            <a:avLst>
              <a:gd name="adj1" fmla="val 74321"/>
              <a:gd name="adj2" fmla="val -16651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Let’s do a quick </a:t>
            </a:r>
          </a:p>
          <a:p>
            <a:pPr algn="ctr"/>
            <a:r>
              <a:rPr lang="en-AU" sz="2400" dirty="0"/>
              <a:t>Demo!</a:t>
            </a:r>
          </a:p>
        </p:txBody>
      </p:sp>
    </p:spTree>
    <p:extLst>
      <p:ext uri="{BB962C8B-B14F-4D97-AF65-F5344CB8AC3E}">
        <p14:creationId xmlns:p14="http://schemas.microsoft.com/office/powerpoint/2010/main" val="428231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5" descr="Imagesujet.jpg">
            <a:extLst>
              <a:ext uri="{FF2B5EF4-FFF2-40B4-BE49-F238E27FC236}">
                <a16:creationId xmlns:a16="http://schemas.microsoft.com/office/drawing/2014/main" id="{EC09FDC1-624E-4A96-961F-69EAD519CB5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888"/>
          <a:stretch/>
        </p:blipFill>
        <p:spPr>
          <a:xfrm flipH="1">
            <a:off x="-198" y="-53341"/>
            <a:ext cx="9144000" cy="5196842"/>
          </a:xfrm>
          <a:prstGeom prst="rect">
            <a:avLst/>
          </a:prstGeom>
        </p:spPr>
      </p:pic>
      <p:pic>
        <p:nvPicPr>
          <p:cNvPr id="12" name="Bild 10">
            <a:extLst>
              <a:ext uri="{FF2B5EF4-FFF2-40B4-BE49-F238E27FC236}">
                <a16:creationId xmlns:a16="http://schemas.microsoft.com/office/drawing/2014/main" id="{2351A5E5-D34C-485A-AD89-6474C603DBB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00" b="11751"/>
          <a:stretch/>
        </p:blipFill>
        <p:spPr>
          <a:xfrm>
            <a:off x="395" y="-53341"/>
            <a:ext cx="9143605" cy="5196841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6FD93D-DD7E-4558-A8B4-BB1CAC11F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9886B33-75CE-4E24-9B60-028E84DCD803}"/>
              </a:ext>
            </a:extLst>
          </p:cNvPr>
          <p:cNvSpPr/>
          <p:nvPr/>
        </p:nvSpPr>
        <p:spPr bwMode="auto">
          <a:xfrm>
            <a:off x="289932" y="524107"/>
            <a:ext cx="3166946" cy="823681"/>
          </a:xfrm>
          <a:prstGeom prst="rect">
            <a:avLst/>
          </a:prstGeom>
          <a:grp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 sz="180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01EEBEA-7150-4C83-970D-A1292996E295}"/>
              </a:ext>
            </a:extLst>
          </p:cNvPr>
          <p:cNvSpPr/>
          <p:nvPr/>
        </p:nvSpPr>
        <p:spPr bwMode="auto">
          <a:xfrm>
            <a:off x="89210" y="635001"/>
            <a:ext cx="3278458" cy="712787"/>
          </a:xfrm>
          <a:prstGeom prst="rect">
            <a:avLst/>
          </a:prstGeom>
          <a:grp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 sz="18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40D820D-4FF7-4F58-82E8-7F14B08E2ACC}"/>
              </a:ext>
            </a:extLst>
          </p:cNvPr>
          <p:cNvSpPr/>
          <p:nvPr/>
        </p:nvSpPr>
        <p:spPr bwMode="auto">
          <a:xfrm>
            <a:off x="289932" y="524108"/>
            <a:ext cx="3479180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>
                <a:latin typeface="+mj-lt"/>
                <a:ea typeface="+mj-ea"/>
                <a:cs typeface="+mj-cs"/>
              </a:rPr>
              <a:t>CASE </a:t>
            </a:r>
            <a:r>
              <a:rPr lang="de-AT" sz="2400" cap="all" dirty="0" err="1">
                <a:latin typeface="+mj-lt"/>
                <a:ea typeface="+mj-ea"/>
                <a:cs typeface="+mj-cs"/>
              </a:rPr>
              <a:t>sTUDY</a:t>
            </a:r>
            <a:endParaRPr lang="de-AT" sz="2400" cap="all" dirty="0">
              <a:latin typeface="+mj-lt"/>
              <a:ea typeface="+mj-ea"/>
              <a:cs typeface="+mj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91D05AE-EB62-42A5-B25F-7E6FF117E114}"/>
              </a:ext>
            </a:extLst>
          </p:cNvPr>
          <p:cNvSpPr/>
          <p:nvPr/>
        </p:nvSpPr>
        <p:spPr bwMode="auto">
          <a:xfrm>
            <a:off x="289932" y="1458681"/>
            <a:ext cx="4059044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>
                <a:latin typeface="+mj-lt"/>
                <a:ea typeface="+mj-ea"/>
                <a:cs typeface="+mj-cs"/>
              </a:rPr>
              <a:t>U-</a:t>
            </a:r>
            <a:r>
              <a:rPr lang="de-AT" sz="2400" cap="all" dirty="0" err="1">
                <a:latin typeface="+mj-lt"/>
                <a:ea typeface="+mj-ea"/>
                <a:cs typeface="+mj-cs"/>
              </a:rPr>
              <a:t>sql</a:t>
            </a:r>
            <a:endParaRPr lang="de-AT" sz="2400" cap="all" dirty="0">
              <a:latin typeface="+mj-lt"/>
              <a:ea typeface="+mj-ea"/>
              <a:cs typeface="+mj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22C979-8E5A-4AC7-9838-465B0A4271E2}"/>
              </a:ext>
            </a:extLst>
          </p:cNvPr>
          <p:cNvSpPr/>
          <p:nvPr/>
        </p:nvSpPr>
        <p:spPr bwMode="auto">
          <a:xfrm>
            <a:off x="289932" y="991395"/>
            <a:ext cx="2464419" cy="401444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  <a:extLst/>
        </p:spPr>
        <p:txBody>
          <a:bodyPr wrap="none" rtlCol="0" anchor="ctr"/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de-AT" sz="2400" cap="all" dirty="0" err="1">
                <a:latin typeface="+mj-lt"/>
                <a:ea typeface="+mj-ea"/>
                <a:cs typeface="+mj-cs"/>
              </a:rPr>
              <a:t>baTCH</a:t>
            </a:r>
            <a:endParaRPr lang="de-AT" sz="2400" cap="all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374216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U-SQL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b="1" dirty="0"/>
              <a:t>Demo</a:t>
            </a:r>
          </a:p>
        </p:txBody>
      </p:sp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B98556D2-EEF6-43BF-B928-F3ABDDBB79B3}"/>
              </a:ext>
            </a:extLst>
          </p:cNvPr>
          <p:cNvSpPr/>
          <p:nvPr/>
        </p:nvSpPr>
        <p:spPr bwMode="auto">
          <a:xfrm>
            <a:off x="975709" y="1697052"/>
            <a:ext cx="2456711" cy="874698"/>
          </a:xfrm>
          <a:prstGeom prst="wedgeRectCallout">
            <a:avLst>
              <a:gd name="adj1" fmla="val 74321"/>
              <a:gd name="adj2" fmla="val -16651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Let’s do a quick </a:t>
            </a:r>
          </a:p>
          <a:p>
            <a:pPr algn="ctr"/>
            <a:r>
              <a:rPr lang="en-AU" sz="2400" dirty="0"/>
              <a:t>Demo!</a:t>
            </a:r>
          </a:p>
        </p:txBody>
      </p:sp>
    </p:spTree>
    <p:extLst>
      <p:ext uri="{BB962C8B-B14F-4D97-AF65-F5344CB8AC3E}">
        <p14:creationId xmlns:p14="http://schemas.microsoft.com/office/powerpoint/2010/main" val="192556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389616"/>
            <a:fld id="{74F186D0-D616-FD44-ABDF-00C253D90924}" type="slidenum">
              <a:rPr lang="de-DE">
                <a:solidFill>
                  <a:srgbClr val="000000"/>
                </a:solidFill>
                <a:latin typeface="Arial"/>
              </a:rPr>
              <a:pPr defTabSz="389616"/>
              <a:t>2</a:t>
            </a:fld>
            <a:endParaRPr lang="de-DE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Bild 9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1" y="4222739"/>
            <a:ext cx="600075" cy="871949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F52009D-B315-49E4-B417-ED1A6C137674}"/>
              </a:ext>
            </a:extLst>
          </p:cNvPr>
          <p:cNvCxnSpPr/>
          <p:nvPr/>
        </p:nvCxnSpPr>
        <p:spPr>
          <a:xfrm>
            <a:off x="251223" y="1757363"/>
            <a:ext cx="864155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0AE1A312-3717-4DA0-BC71-4894852EDF06}"/>
              </a:ext>
            </a:extLst>
          </p:cNvPr>
          <p:cNvSpPr txBox="1"/>
          <p:nvPr/>
        </p:nvSpPr>
        <p:spPr>
          <a:xfrm>
            <a:off x="422687" y="2057399"/>
            <a:ext cx="16775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/>
              <a:t>Topic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A5F031C-81D7-4D6B-AA36-15755B6842B5}"/>
              </a:ext>
            </a:extLst>
          </p:cNvPr>
          <p:cNvGrpSpPr/>
          <p:nvPr/>
        </p:nvGrpSpPr>
        <p:grpSpPr>
          <a:xfrm>
            <a:off x="1796032" y="1180282"/>
            <a:ext cx="2221200" cy="2346750"/>
            <a:chOff x="2171700" y="1180282"/>
            <a:chExt cx="2221200" cy="2346750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F0F53795-8436-4E51-B822-D82DFED5D179}"/>
                </a:ext>
              </a:extLst>
            </p:cNvPr>
            <p:cNvSpPr txBox="1"/>
            <p:nvPr/>
          </p:nvSpPr>
          <p:spPr>
            <a:xfrm>
              <a:off x="2171700" y="1180282"/>
              <a:ext cx="89296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 dirty="0">
                  <a:latin typeface="Arial Black" panose="020B0A04020102020204" pitchFamily="34" charset="0"/>
                </a:rPr>
                <a:t>O1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2597B59-C60C-43B1-9736-D5197BB463E1}"/>
                </a:ext>
              </a:extLst>
            </p:cNvPr>
            <p:cNvSpPr txBox="1"/>
            <p:nvPr/>
          </p:nvSpPr>
          <p:spPr>
            <a:xfrm>
              <a:off x="2171700" y="2057399"/>
              <a:ext cx="2221200" cy="1469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Who we are</a:t>
              </a:r>
            </a:p>
            <a:p>
              <a:r>
                <a:rPr lang="en-GB" sz="700" dirty="0"/>
                <a:t>(obligatory marketing stuff…)</a:t>
              </a:r>
            </a:p>
            <a:p>
              <a:endParaRPr lang="en-GB" dirty="0"/>
            </a:p>
            <a:p>
              <a:endParaRPr lang="en-US" sz="1050" dirty="0"/>
            </a:p>
            <a:p>
              <a:r>
                <a:rPr lang="en-US" sz="1050" dirty="0"/>
                <a:t>Data </a:t>
              </a:r>
              <a:r>
                <a:rPr lang="en-US" sz="1050" dirty="0" err="1"/>
                <a:t>Science@Post</a:t>
              </a:r>
              <a:r>
                <a:rPr lang="en-US" sz="1050" dirty="0"/>
                <a:t> AG: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Overview: Post AG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Interdisciplinary team</a:t>
              </a:r>
            </a:p>
            <a:p>
              <a:endParaRPr lang="en-US" sz="1050" dirty="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AE37307-EFA0-49CD-9F68-71C67974A913}"/>
              </a:ext>
            </a:extLst>
          </p:cNvPr>
          <p:cNvGrpSpPr/>
          <p:nvPr/>
        </p:nvGrpSpPr>
        <p:grpSpPr>
          <a:xfrm>
            <a:off x="3971329" y="1180282"/>
            <a:ext cx="2221707" cy="2308278"/>
            <a:chOff x="4003716" y="1180282"/>
            <a:chExt cx="2221707" cy="2308278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3720DA6-7426-4B7C-A8CC-744E1C954841}"/>
                </a:ext>
              </a:extLst>
            </p:cNvPr>
            <p:cNvSpPr txBox="1"/>
            <p:nvPr/>
          </p:nvSpPr>
          <p:spPr>
            <a:xfrm>
              <a:off x="4165652" y="1180282"/>
              <a:ext cx="1193006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 dirty="0">
                  <a:latin typeface="Arial Black" panose="020B0A04020102020204" pitchFamily="34" charset="0"/>
                </a:rPr>
                <a:t>O2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0C4DA709-D232-4644-BA3C-AC42ECEB8963}"/>
                </a:ext>
              </a:extLst>
            </p:cNvPr>
            <p:cNvSpPr txBox="1"/>
            <p:nvPr/>
          </p:nvSpPr>
          <p:spPr>
            <a:xfrm>
              <a:off x="4003716" y="2057399"/>
              <a:ext cx="2221707" cy="143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Why serverless</a:t>
              </a:r>
            </a:p>
            <a:p>
              <a:endParaRPr lang="en-GB" dirty="0"/>
            </a:p>
            <a:p>
              <a:endParaRPr lang="en-GB" dirty="0"/>
            </a:p>
            <a:p>
              <a:r>
                <a:rPr lang="en-GB" sz="1050" dirty="0"/>
                <a:t>Overview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Pros and Cons 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Popular platforms + frameworks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B2BDE9B-A969-4325-9062-F27B3F679DE3}"/>
              </a:ext>
            </a:extLst>
          </p:cNvPr>
          <p:cNvGrpSpPr/>
          <p:nvPr/>
        </p:nvGrpSpPr>
        <p:grpSpPr>
          <a:xfrm>
            <a:off x="6315075" y="1180282"/>
            <a:ext cx="2221706" cy="2793026"/>
            <a:chOff x="6315075" y="1180282"/>
            <a:chExt cx="2221706" cy="2793026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AF883563-83DD-4C41-8C7D-6E67FDA079AF}"/>
                </a:ext>
              </a:extLst>
            </p:cNvPr>
            <p:cNvSpPr txBox="1"/>
            <p:nvPr/>
          </p:nvSpPr>
          <p:spPr>
            <a:xfrm>
              <a:off x="6315076" y="1180282"/>
              <a:ext cx="84772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 dirty="0">
                  <a:latin typeface="Arial Black" panose="020B0A04020102020204" pitchFamily="34" charset="0"/>
                </a:rPr>
                <a:t>O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B41AE1-DD64-41F1-AD99-A8AF0C33A4A1}"/>
                </a:ext>
              </a:extLst>
            </p:cNvPr>
            <p:cNvSpPr txBox="1"/>
            <p:nvPr/>
          </p:nvSpPr>
          <p:spPr>
            <a:xfrm>
              <a:off x="6315075" y="2057399"/>
              <a:ext cx="2221706" cy="191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Serverless R in Azure</a:t>
              </a:r>
            </a:p>
            <a:p>
              <a:endParaRPr lang="en-GB" dirty="0"/>
            </a:p>
            <a:p>
              <a:endParaRPr lang="en-GB" dirty="0"/>
            </a:p>
            <a:p>
              <a:r>
                <a:rPr lang="en-GB" sz="1050" dirty="0"/>
                <a:t>Lots of options for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Batch processing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Realtime processing</a:t>
              </a:r>
            </a:p>
            <a:p>
              <a:pPr marL="171450" indent="-171450">
                <a:buFontTx/>
                <a:buChar char="-"/>
              </a:pPr>
              <a:endParaRPr lang="en-GB" sz="1050" dirty="0"/>
            </a:p>
            <a:p>
              <a:r>
                <a:rPr lang="en-GB" sz="1050" dirty="0"/>
                <a:t>Case Studies: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U-SQL</a:t>
              </a:r>
            </a:p>
            <a:p>
              <a:pPr marL="171450" indent="-171450">
                <a:buFontTx/>
                <a:buChar char="-"/>
              </a:pPr>
              <a:r>
                <a:rPr lang="en-GB" sz="1050" dirty="0"/>
                <a:t>Azure Functions</a:t>
              </a:r>
            </a:p>
          </p:txBody>
        </p:sp>
      </p:grpSp>
      <p:sp>
        <p:nvSpPr>
          <p:cNvPr id="19" name="Titel 4">
            <a:extLst>
              <a:ext uri="{FF2B5EF4-FFF2-40B4-BE49-F238E27FC236}">
                <a16:creationId xmlns:a16="http://schemas.microsoft.com/office/drawing/2014/main" id="{93A0F7C1-6269-4641-99E7-EF5300D84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687" y="279500"/>
            <a:ext cx="5413757" cy="312628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193219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92200E-2A6B-4A65-BACB-975E2F9CAE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F186D0-D616-FD44-ABDF-00C253D9092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E4D03E9E-B942-432B-A99F-1954705DDE47}"/>
              </a:ext>
            </a:extLst>
          </p:cNvPr>
          <p:cNvSpPr/>
          <p:nvPr/>
        </p:nvSpPr>
        <p:spPr bwMode="auto">
          <a:xfrm>
            <a:off x="985234" y="805996"/>
            <a:ext cx="2456711" cy="874698"/>
          </a:xfrm>
          <a:prstGeom prst="wedgeRectCallout">
            <a:avLst>
              <a:gd name="adj1" fmla="val 75872"/>
              <a:gd name="adj2" fmla="val 38885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Thank you for </a:t>
            </a:r>
          </a:p>
          <a:p>
            <a:pPr algn="ctr"/>
            <a:r>
              <a:rPr lang="en-AU" sz="2400" dirty="0"/>
              <a:t>your attention!</a:t>
            </a: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A4131467-121B-45CA-8BC5-2AF27DB23AA4}"/>
              </a:ext>
            </a:extLst>
          </p:cNvPr>
          <p:cNvSpPr/>
          <p:nvPr/>
        </p:nvSpPr>
        <p:spPr bwMode="auto">
          <a:xfrm>
            <a:off x="5702057" y="944106"/>
            <a:ext cx="2456711" cy="874698"/>
          </a:xfrm>
          <a:prstGeom prst="wedgeRectCallout">
            <a:avLst>
              <a:gd name="adj1" fmla="val -66719"/>
              <a:gd name="adj2" fmla="val 13854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Any questions?</a:t>
            </a:r>
          </a:p>
        </p:txBody>
      </p:sp>
      <p:sp>
        <p:nvSpPr>
          <p:cNvPr id="5" name="Sprechblase: rechteckig 4">
            <a:extLst>
              <a:ext uri="{FF2B5EF4-FFF2-40B4-BE49-F238E27FC236}">
                <a16:creationId xmlns:a16="http://schemas.microsoft.com/office/drawing/2014/main" id="{4740DFFC-B5D6-436A-95FF-73CCA939E19C}"/>
              </a:ext>
            </a:extLst>
          </p:cNvPr>
          <p:cNvSpPr/>
          <p:nvPr/>
        </p:nvSpPr>
        <p:spPr bwMode="auto">
          <a:xfrm>
            <a:off x="114176" y="2418080"/>
            <a:ext cx="3719593" cy="1331799"/>
          </a:xfrm>
          <a:prstGeom prst="wedgeRectCallout">
            <a:avLst>
              <a:gd name="adj1" fmla="val 70215"/>
              <a:gd name="adj2" fmla="val -6382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 sz="2400" dirty="0"/>
              <a:t>You can contact us at:</a:t>
            </a:r>
          </a:p>
          <a:p>
            <a:pPr algn="ctr"/>
            <a:r>
              <a:rPr lang="en-AU" sz="2400" dirty="0">
                <a:hlinkClick r:id="rId2"/>
              </a:rPr>
              <a:t>christoph.bodner@post.at</a:t>
            </a:r>
            <a:endParaRPr lang="en-AU" sz="2400" dirty="0"/>
          </a:p>
          <a:p>
            <a:pPr algn="ctr"/>
            <a:r>
              <a:rPr lang="en-AU" sz="2400" dirty="0">
                <a:hlinkClick r:id="rId3"/>
              </a:rPr>
              <a:t>thomas.laber@post.at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2611359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1" grpId="0" animBg="1"/>
      <p:bldP spid="11" grpId="1" animBg="1"/>
      <p:bldP spid="5" grpId="0" animBg="1"/>
      <p:bldP spid="5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feld 71">
            <a:extLst>
              <a:ext uri="{FF2B5EF4-FFF2-40B4-BE49-F238E27FC236}">
                <a16:creationId xmlns:a16="http://schemas.microsoft.com/office/drawing/2014/main" id="{C2E3AD95-8940-403C-B5B7-B6707413AD31}"/>
              </a:ext>
            </a:extLst>
          </p:cNvPr>
          <p:cNvSpPr txBox="1"/>
          <p:nvPr/>
        </p:nvSpPr>
        <p:spPr>
          <a:xfrm>
            <a:off x="3832095" y="3233875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Read models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b="1" err="1"/>
              <a:t>Serverless</a:t>
            </a:r>
            <a:r>
              <a:rPr lang="de-AT" sz="1600" b="1"/>
              <a:t> Data Science Architectur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DE20832-50C2-4D26-BCC6-5F4F05106E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457" y="1321445"/>
            <a:ext cx="716563" cy="7165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A46B7BE-A057-40FA-8E45-5A73C450C9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1922" y="1033563"/>
            <a:ext cx="956352" cy="83003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D3CB1C5-01BB-45BB-9260-5B13591198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658" y="1225302"/>
            <a:ext cx="832651" cy="83265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1811E5-7345-4E83-A6C8-2D1A38CDDB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1094" y="2552102"/>
            <a:ext cx="541249" cy="541249"/>
          </a:xfrm>
          <a:prstGeom prst="rect">
            <a:avLst/>
          </a:prstGeom>
        </p:spPr>
      </p:pic>
      <p:pic>
        <p:nvPicPr>
          <p:cNvPr id="5" name="Grafik 4" descr="Datenbank">
            <a:extLst>
              <a:ext uri="{FF2B5EF4-FFF2-40B4-BE49-F238E27FC236}">
                <a16:creationId xmlns:a16="http://schemas.microsoft.com/office/drawing/2014/main" id="{FA3CC14A-9CB2-4370-ADF4-9F7294BEBB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15654" y="2145406"/>
            <a:ext cx="914400" cy="9144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B1604469-419C-4A36-8C90-879E87F971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9030" y="1256773"/>
            <a:ext cx="804446" cy="804446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7419C39-5920-4026-8093-01558B7D0914}"/>
              </a:ext>
            </a:extLst>
          </p:cNvPr>
          <p:cNvSpPr/>
          <p:nvPr/>
        </p:nvSpPr>
        <p:spPr bwMode="auto">
          <a:xfrm>
            <a:off x="3337478" y="1017566"/>
            <a:ext cx="3603063" cy="1278112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89DBF29-9D08-4381-BA46-B858E0E73D90}"/>
              </a:ext>
            </a:extLst>
          </p:cNvPr>
          <p:cNvSpPr/>
          <p:nvPr/>
        </p:nvSpPr>
        <p:spPr bwMode="auto">
          <a:xfrm>
            <a:off x="4533899" y="1095528"/>
            <a:ext cx="1130291" cy="1123950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4C26FA9-A529-40E6-B732-348EB30620A9}"/>
              </a:ext>
            </a:extLst>
          </p:cNvPr>
          <p:cNvSpPr/>
          <p:nvPr/>
        </p:nvSpPr>
        <p:spPr bwMode="auto">
          <a:xfrm>
            <a:off x="5714990" y="1095528"/>
            <a:ext cx="1130291" cy="1123950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B95AE52-0ABD-4F6F-A8DF-382AC2E3F89D}"/>
              </a:ext>
            </a:extLst>
          </p:cNvPr>
          <p:cNvSpPr txBox="1"/>
          <p:nvPr/>
        </p:nvSpPr>
        <p:spPr>
          <a:xfrm>
            <a:off x="3372790" y="1901741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Batch Training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53F208E-E95B-4380-9839-38B1E6E92FA2}"/>
              </a:ext>
            </a:extLst>
          </p:cNvPr>
          <p:cNvSpPr/>
          <p:nvPr/>
        </p:nvSpPr>
        <p:spPr bwMode="auto">
          <a:xfrm>
            <a:off x="3337478" y="2485712"/>
            <a:ext cx="3603063" cy="755717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1984167-0B9A-44D5-89A8-973A10DB8289}"/>
              </a:ext>
            </a:extLst>
          </p:cNvPr>
          <p:cNvSpPr txBox="1"/>
          <p:nvPr/>
        </p:nvSpPr>
        <p:spPr>
          <a:xfrm>
            <a:off x="4580101" y="1969556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Pool 1 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FC0ED2C-5203-4C2B-ACE0-1BB37508DEF3}"/>
              </a:ext>
            </a:extLst>
          </p:cNvPr>
          <p:cNvSpPr txBox="1"/>
          <p:nvPr/>
        </p:nvSpPr>
        <p:spPr>
          <a:xfrm>
            <a:off x="5704100" y="1969556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Pool n 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9" name="Grafik 8" descr="Geöffneter Ordner">
            <a:extLst>
              <a:ext uri="{FF2B5EF4-FFF2-40B4-BE49-F238E27FC236}">
                <a16:creationId xmlns:a16="http://schemas.microsoft.com/office/drawing/2014/main" id="{1F7F6975-5005-47FC-8971-A34B8655038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11816" y="2485712"/>
            <a:ext cx="577427" cy="577427"/>
          </a:xfrm>
          <a:prstGeom prst="rect">
            <a:avLst/>
          </a:prstGeom>
        </p:spPr>
      </p:pic>
      <p:pic>
        <p:nvPicPr>
          <p:cNvPr id="29" name="Grafik 28" descr="Geöffneter Ordner">
            <a:extLst>
              <a:ext uri="{FF2B5EF4-FFF2-40B4-BE49-F238E27FC236}">
                <a16:creationId xmlns:a16="http://schemas.microsoft.com/office/drawing/2014/main" id="{53750E05-BFE0-4C36-9B84-8EAB0F10A0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29510" y="2485712"/>
            <a:ext cx="577427" cy="577427"/>
          </a:xfrm>
          <a:prstGeom prst="rect">
            <a:avLst/>
          </a:prstGeom>
        </p:spPr>
      </p:pic>
      <p:pic>
        <p:nvPicPr>
          <p:cNvPr id="31" name="Grafik 30" descr="Geöffneter Ordner">
            <a:extLst>
              <a:ext uri="{FF2B5EF4-FFF2-40B4-BE49-F238E27FC236}">
                <a16:creationId xmlns:a16="http://schemas.microsoft.com/office/drawing/2014/main" id="{537859EE-3215-4B2C-A353-96A7F105AE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01393" y="2485712"/>
            <a:ext cx="577427" cy="577427"/>
          </a:xfrm>
          <a:prstGeom prst="rect">
            <a:avLst/>
          </a:prstGeom>
        </p:spPr>
      </p:pic>
      <p:pic>
        <p:nvPicPr>
          <p:cNvPr id="32" name="Grafik 31" descr="Geöffneter Ordner">
            <a:extLst>
              <a:ext uri="{FF2B5EF4-FFF2-40B4-BE49-F238E27FC236}">
                <a16:creationId xmlns:a16="http://schemas.microsoft.com/office/drawing/2014/main" id="{40DE0081-B53F-4BD7-AE85-7884F8689C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80135" y="2485712"/>
            <a:ext cx="577427" cy="577427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1E24F140-F661-4236-814B-D6D52996AA3F}"/>
              </a:ext>
            </a:extLst>
          </p:cNvPr>
          <p:cNvSpPr txBox="1"/>
          <p:nvPr/>
        </p:nvSpPr>
        <p:spPr>
          <a:xfrm>
            <a:off x="3258791" y="3010220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Model storage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D110A3-1ED2-4096-8272-584A3FD85A89}"/>
              </a:ext>
            </a:extLst>
          </p:cNvPr>
          <p:cNvSpPr txBox="1"/>
          <p:nvPr/>
        </p:nvSpPr>
        <p:spPr>
          <a:xfrm>
            <a:off x="4653543" y="3008503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Project 2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3A1BFFC-56D4-494A-918B-FA87090A8391}"/>
              </a:ext>
            </a:extLst>
          </p:cNvPr>
          <p:cNvSpPr txBox="1"/>
          <p:nvPr/>
        </p:nvSpPr>
        <p:spPr>
          <a:xfrm>
            <a:off x="4017255" y="3008503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Project 1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7F0933F-AE74-4A0A-9A45-D610654C3032}"/>
              </a:ext>
            </a:extLst>
          </p:cNvPr>
          <p:cNvSpPr txBox="1"/>
          <p:nvPr/>
        </p:nvSpPr>
        <p:spPr>
          <a:xfrm>
            <a:off x="5322302" y="3008503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…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7B87072-EE1C-49AE-BC66-0E15BEBAB68E}"/>
              </a:ext>
            </a:extLst>
          </p:cNvPr>
          <p:cNvSpPr txBox="1"/>
          <p:nvPr/>
        </p:nvSpPr>
        <p:spPr>
          <a:xfrm>
            <a:off x="5980603" y="3008503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Project n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31E00824-7531-4894-98B7-1998FEEAE15E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2630054" y="2198596"/>
            <a:ext cx="687477" cy="40401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88039FE1-D330-40FC-977D-5515BF2AF892}"/>
              </a:ext>
            </a:extLst>
          </p:cNvPr>
          <p:cNvCxnSpPr>
            <a:cxnSpLocks/>
          </p:cNvCxnSpPr>
          <p:nvPr/>
        </p:nvCxnSpPr>
        <p:spPr>
          <a:xfrm>
            <a:off x="2580985" y="1794140"/>
            <a:ext cx="73826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5A91283C-C4FE-4D86-99A0-4C58220C240E}"/>
              </a:ext>
            </a:extLst>
          </p:cNvPr>
          <p:cNvSpPr txBox="1"/>
          <p:nvPr/>
        </p:nvSpPr>
        <p:spPr>
          <a:xfrm>
            <a:off x="2352432" y="1535199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docker pull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8288D24-AAB3-46E9-A288-A74BCF08BCD9}"/>
              </a:ext>
            </a:extLst>
          </p:cNvPr>
          <p:cNvSpPr txBox="1"/>
          <p:nvPr/>
        </p:nvSpPr>
        <p:spPr>
          <a:xfrm>
            <a:off x="2347271" y="1941224"/>
            <a:ext cx="113488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Get train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ata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74ED7EC-8CD7-499C-93DC-A17AE9F590F1}"/>
              </a:ext>
            </a:extLst>
          </p:cNvPr>
          <p:cNvCxnSpPr>
            <a:cxnSpLocks/>
          </p:cNvCxnSpPr>
          <p:nvPr/>
        </p:nvCxnSpPr>
        <p:spPr>
          <a:xfrm>
            <a:off x="2613860" y="3085689"/>
            <a:ext cx="694631" cy="51372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03985EC-8144-4402-AF4D-5DEFAB59030B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2172854" y="3059806"/>
            <a:ext cx="1135637" cy="85537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5F91BCE4-33E7-419D-8270-9C7CEC709C77}"/>
              </a:ext>
            </a:extLst>
          </p:cNvPr>
          <p:cNvSpPr txBox="1"/>
          <p:nvPr/>
        </p:nvSpPr>
        <p:spPr>
          <a:xfrm>
            <a:off x="2353111" y="2849840"/>
            <a:ext cx="113488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Get scor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ata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D2D63037-EBC3-47DF-B2AB-BC192DB4641A}"/>
              </a:ext>
            </a:extLst>
          </p:cNvPr>
          <p:cNvSpPr txBox="1"/>
          <p:nvPr/>
        </p:nvSpPr>
        <p:spPr>
          <a:xfrm>
            <a:off x="2353111" y="3848779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rite results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6092162-8B79-47F7-AB0B-DFA69E286E2D}"/>
              </a:ext>
            </a:extLst>
          </p:cNvPr>
          <p:cNvSpPr/>
          <p:nvPr/>
        </p:nvSpPr>
        <p:spPr bwMode="auto">
          <a:xfrm>
            <a:off x="3394300" y="3504098"/>
            <a:ext cx="1002614" cy="755717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60736295-853B-4C18-B4B8-561992A17BC3}"/>
              </a:ext>
            </a:extLst>
          </p:cNvPr>
          <p:cNvSpPr txBox="1"/>
          <p:nvPr/>
        </p:nvSpPr>
        <p:spPr>
          <a:xfrm>
            <a:off x="3272640" y="3998376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Batch Scoring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B49D8B3-8874-463F-912E-16246AB773F0}"/>
              </a:ext>
            </a:extLst>
          </p:cNvPr>
          <p:cNvSpPr/>
          <p:nvPr/>
        </p:nvSpPr>
        <p:spPr bwMode="auto">
          <a:xfrm>
            <a:off x="4441391" y="3507946"/>
            <a:ext cx="1002614" cy="755717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94EBF5-0008-4AAA-98A2-53979138DC79}"/>
              </a:ext>
            </a:extLst>
          </p:cNvPr>
          <p:cNvSpPr txBox="1"/>
          <p:nvPr/>
        </p:nvSpPr>
        <p:spPr>
          <a:xfrm>
            <a:off x="4357688" y="3998376"/>
            <a:ext cx="116115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Realtime Scoring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16FD2250-54BD-4F93-9408-B28449067233}"/>
              </a:ext>
            </a:extLst>
          </p:cNvPr>
          <p:cNvCxnSpPr>
            <a:cxnSpLocks/>
          </p:cNvCxnSpPr>
          <p:nvPr/>
        </p:nvCxnSpPr>
        <p:spPr>
          <a:xfrm>
            <a:off x="5007336" y="3264136"/>
            <a:ext cx="0" cy="2131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11F92D7F-C022-4A87-982F-D91DDC5371D1}"/>
              </a:ext>
            </a:extLst>
          </p:cNvPr>
          <p:cNvCxnSpPr>
            <a:cxnSpLocks/>
          </p:cNvCxnSpPr>
          <p:nvPr/>
        </p:nvCxnSpPr>
        <p:spPr>
          <a:xfrm>
            <a:off x="5267103" y="4384738"/>
            <a:ext cx="0" cy="2131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AB8D3516-E0FA-484A-8791-CDC950D99725}"/>
              </a:ext>
            </a:extLst>
          </p:cNvPr>
          <p:cNvCxnSpPr>
            <a:cxnSpLocks/>
          </p:cNvCxnSpPr>
          <p:nvPr/>
        </p:nvCxnSpPr>
        <p:spPr>
          <a:xfrm>
            <a:off x="4603372" y="4384738"/>
            <a:ext cx="0" cy="213116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AED53C3D-4EC7-4F36-A58A-65FF044ADAAE}"/>
              </a:ext>
            </a:extLst>
          </p:cNvPr>
          <p:cNvSpPr txBox="1"/>
          <p:nvPr/>
        </p:nvSpPr>
        <p:spPr>
          <a:xfrm>
            <a:off x="4031164" y="4619729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Trigger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40416CD0-702B-4D02-8DBE-FA36D1B60517}"/>
              </a:ext>
            </a:extLst>
          </p:cNvPr>
          <p:cNvSpPr txBox="1"/>
          <p:nvPr/>
        </p:nvSpPr>
        <p:spPr>
          <a:xfrm>
            <a:off x="4699658" y="4619729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REST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656EB8A5-D800-4AB5-916D-240BAEE5E38C}"/>
              </a:ext>
            </a:extLst>
          </p:cNvPr>
          <p:cNvSpPr/>
          <p:nvPr/>
        </p:nvSpPr>
        <p:spPr bwMode="auto">
          <a:xfrm>
            <a:off x="3340100" y="3446238"/>
            <a:ext cx="3600429" cy="870175"/>
          </a:xfrm>
          <a:prstGeom prst="rect">
            <a:avLst/>
          </a:prstGeom>
          <a:grpFill/>
          <a:ln w="9525" cap="flat">
            <a:solidFill>
              <a:srgbClr val="808080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endParaRPr lang="de-AT"/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7F08053-9D2A-477E-BD91-3F723F4D0057}"/>
              </a:ext>
            </a:extLst>
          </p:cNvPr>
          <p:cNvCxnSpPr>
            <a:cxnSpLocks/>
          </p:cNvCxnSpPr>
          <p:nvPr/>
        </p:nvCxnSpPr>
        <p:spPr>
          <a:xfrm>
            <a:off x="3832095" y="3264136"/>
            <a:ext cx="0" cy="2131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77" name="Grafik 76" descr="Hierarchie">
            <a:extLst>
              <a:ext uri="{FF2B5EF4-FFF2-40B4-BE49-F238E27FC236}">
                <a16:creationId xmlns:a16="http://schemas.microsoft.com/office/drawing/2014/main" id="{FC35A42D-A192-4240-827E-051CE4AFAD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5479273" y="3669814"/>
            <a:ext cx="446869" cy="446869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3F9ECC55-BA69-4CC1-86FC-AD2363C89A9E}"/>
              </a:ext>
            </a:extLst>
          </p:cNvPr>
          <p:cNvSpPr txBox="1"/>
          <p:nvPr/>
        </p:nvSpPr>
        <p:spPr>
          <a:xfrm>
            <a:off x="5777941" y="3752014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Auto scaling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EE97F52A-4145-4947-A0C6-BA0D47182048}"/>
              </a:ext>
            </a:extLst>
          </p:cNvPr>
          <p:cNvCxnSpPr>
            <a:cxnSpLocks/>
          </p:cNvCxnSpPr>
          <p:nvPr/>
        </p:nvCxnSpPr>
        <p:spPr>
          <a:xfrm>
            <a:off x="5142489" y="2257578"/>
            <a:ext cx="0" cy="2131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79F239CA-442E-434D-88AE-CD8B483ADE4E}"/>
              </a:ext>
            </a:extLst>
          </p:cNvPr>
          <p:cNvCxnSpPr>
            <a:cxnSpLocks/>
          </p:cNvCxnSpPr>
          <p:nvPr/>
        </p:nvCxnSpPr>
        <p:spPr>
          <a:xfrm>
            <a:off x="6280135" y="2257578"/>
            <a:ext cx="0" cy="2131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1" name="Textfeld 80">
            <a:extLst>
              <a:ext uri="{FF2B5EF4-FFF2-40B4-BE49-F238E27FC236}">
                <a16:creationId xmlns:a16="http://schemas.microsoft.com/office/drawing/2014/main" id="{FCBE27E9-E5C6-4620-9E86-5C2E422F2264}"/>
              </a:ext>
            </a:extLst>
          </p:cNvPr>
          <p:cNvSpPr txBox="1"/>
          <p:nvPr/>
        </p:nvSpPr>
        <p:spPr>
          <a:xfrm>
            <a:off x="5102145" y="2255828"/>
            <a:ext cx="11348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kern="0">
                <a:solidFill>
                  <a:prstClr val="black"/>
                </a:solidFill>
                <a:latin typeface="Calibri" panose="020F0502020204030204"/>
              </a:rPr>
              <a:t>Store models</a:t>
            </a:r>
            <a:endParaRPr kumimoji="0" lang="en-AU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7DA8B1F-D84E-4ED2-A6B3-7BF2CE876DBB}"/>
              </a:ext>
            </a:extLst>
          </p:cNvPr>
          <p:cNvSpPr/>
          <p:nvPr/>
        </p:nvSpPr>
        <p:spPr bwMode="auto">
          <a:xfrm>
            <a:off x="7171932" y="3309670"/>
            <a:ext cx="3259797" cy="1078218"/>
          </a:xfrm>
          <a:prstGeom prst="rect">
            <a:avLst/>
          </a:prstGeom>
          <a:grp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rtlCol="0" anchor="ctr"/>
          <a:lstStyle/>
          <a:p>
            <a:pPr algn="ctr"/>
            <a:r>
              <a:rPr lang="de-AT" err="1"/>
              <a:t>Redesign</a:t>
            </a:r>
            <a:r>
              <a:rPr lang="de-AT"/>
              <a:t> like </a:t>
            </a:r>
            <a:r>
              <a:rPr lang="de-AT" err="1"/>
              <a:t>flow</a:t>
            </a:r>
            <a:r>
              <a:rPr lang="de-AT"/>
              <a:t> </a:t>
            </a:r>
            <a:r>
              <a:rPr lang="de-AT" err="1"/>
              <a:t>chart</a:t>
            </a:r>
            <a:r>
              <a:rPr lang="de-AT"/>
              <a:t> </a:t>
            </a:r>
            <a:r>
              <a:rPr lang="de-AT" err="1"/>
              <a:t>below</a:t>
            </a:r>
            <a:r>
              <a:rPr lang="de-AT"/>
              <a:t>!</a:t>
            </a:r>
          </a:p>
        </p:txBody>
      </p:sp>
      <p:pic>
        <p:nvPicPr>
          <p:cNvPr id="83" name="Grafik 82" descr="Ein Bild, das Screenshot enthält.&#10;&#10;Mit hoher Zuverlässigkeit generierte Beschreibung">
            <a:extLst>
              <a:ext uri="{FF2B5EF4-FFF2-40B4-BE49-F238E27FC236}">
                <a16:creationId xmlns:a16="http://schemas.microsoft.com/office/drawing/2014/main" id="{42D6EDEF-9C0C-499D-BADC-CC5B6C74CC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46596" y="820470"/>
            <a:ext cx="3984902" cy="224150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F250BC8D-0E15-40F5-A1F7-8BC9D67BAE1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16094" y="1245856"/>
            <a:ext cx="5822888" cy="260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483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389616"/>
            <a:fld id="{74F186D0-D616-FD44-ABDF-00C253D90924}" type="slidenum">
              <a:rPr lang="de-DE">
                <a:solidFill>
                  <a:srgbClr val="000000"/>
                </a:solidFill>
                <a:latin typeface="Arial"/>
              </a:rPr>
              <a:pPr defTabSz="389616"/>
              <a:t>3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Bild 9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1" y="4222739"/>
            <a:ext cx="600075" cy="871949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F52009D-B315-49E4-B417-ED1A6C137674}"/>
              </a:ext>
            </a:extLst>
          </p:cNvPr>
          <p:cNvCxnSpPr/>
          <p:nvPr/>
        </p:nvCxnSpPr>
        <p:spPr>
          <a:xfrm>
            <a:off x="251223" y="1757363"/>
            <a:ext cx="864155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0AE1A312-3717-4DA0-BC71-4894852EDF06}"/>
              </a:ext>
            </a:extLst>
          </p:cNvPr>
          <p:cNvSpPr txBox="1"/>
          <p:nvPr/>
        </p:nvSpPr>
        <p:spPr>
          <a:xfrm>
            <a:off x="422687" y="2057399"/>
            <a:ext cx="16775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Topic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A5F031C-81D7-4D6B-AA36-15755B6842B5}"/>
              </a:ext>
            </a:extLst>
          </p:cNvPr>
          <p:cNvGrpSpPr/>
          <p:nvPr/>
        </p:nvGrpSpPr>
        <p:grpSpPr>
          <a:xfrm>
            <a:off x="1796032" y="1180282"/>
            <a:ext cx="2221200" cy="2346750"/>
            <a:chOff x="2171700" y="1180282"/>
            <a:chExt cx="2221200" cy="2346750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F0F53795-8436-4E51-B822-D82DFED5D179}"/>
                </a:ext>
              </a:extLst>
            </p:cNvPr>
            <p:cNvSpPr txBox="1"/>
            <p:nvPr/>
          </p:nvSpPr>
          <p:spPr>
            <a:xfrm>
              <a:off x="2171700" y="1180282"/>
              <a:ext cx="89296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latin typeface="Arial Black" panose="020B0A04020102020204" pitchFamily="34" charset="0"/>
                </a:rPr>
                <a:t>O1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2597B59-C60C-43B1-9736-D5197BB463E1}"/>
                </a:ext>
              </a:extLst>
            </p:cNvPr>
            <p:cNvSpPr txBox="1"/>
            <p:nvPr/>
          </p:nvSpPr>
          <p:spPr>
            <a:xfrm>
              <a:off x="2171700" y="2057399"/>
              <a:ext cx="2221200" cy="1469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/>
                <a:t>Who we are</a:t>
              </a:r>
            </a:p>
            <a:p>
              <a:r>
                <a:rPr lang="en-GB" sz="700"/>
                <a:t>(obligatory marketing stuff…)</a:t>
              </a:r>
            </a:p>
            <a:p>
              <a:endParaRPr lang="en-GB"/>
            </a:p>
            <a:p>
              <a:endParaRPr lang="en-US" sz="1050"/>
            </a:p>
            <a:p>
              <a:r>
                <a:rPr lang="en-US" sz="1050"/>
                <a:t>Data </a:t>
              </a:r>
              <a:r>
                <a:rPr lang="en-US" sz="1050" err="1"/>
                <a:t>Science@Post</a:t>
              </a:r>
              <a:r>
                <a:rPr lang="en-US" sz="1050"/>
                <a:t> AG:</a:t>
              </a:r>
            </a:p>
            <a:p>
              <a:pPr marL="171450" indent="-171450">
                <a:buFontTx/>
                <a:buChar char="-"/>
              </a:pPr>
              <a:r>
                <a:rPr lang="en-US" sz="1050"/>
                <a:t>Overview: Post AG</a:t>
              </a:r>
            </a:p>
            <a:p>
              <a:pPr marL="171450" indent="-171450">
                <a:buFontTx/>
                <a:buChar char="-"/>
              </a:pPr>
              <a:r>
                <a:rPr lang="en-US" sz="1050"/>
                <a:t>Interdisciplinary team</a:t>
              </a:r>
            </a:p>
            <a:p>
              <a:endParaRPr lang="en-US" sz="105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AE37307-EFA0-49CD-9F68-71C67974A913}"/>
              </a:ext>
            </a:extLst>
          </p:cNvPr>
          <p:cNvGrpSpPr/>
          <p:nvPr/>
        </p:nvGrpSpPr>
        <p:grpSpPr>
          <a:xfrm>
            <a:off x="3971329" y="1180282"/>
            <a:ext cx="2221707" cy="2308278"/>
            <a:chOff x="4003716" y="1180282"/>
            <a:chExt cx="2221707" cy="2308278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3720DA6-7426-4B7C-A8CC-744E1C954841}"/>
                </a:ext>
              </a:extLst>
            </p:cNvPr>
            <p:cNvSpPr txBox="1"/>
            <p:nvPr/>
          </p:nvSpPr>
          <p:spPr>
            <a:xfrm>
              <a:off x="4165652" y="1180282"/>
              <a:ext cx="1193006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2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0C4DA709-D232-4644-BA3C-AC42ECEB8963}"/>
                </a:ext>
              </a:extLst>
            </p:cNvPr>
            <p:cNvSpPr txBox="1"/>
            <p:nvPr/>
          </p:nvSpPr>
          <p:spPr>
            <a:xfrm>
              <a:off x="4003716" y="2057399"/>
              <a:ext cx="2221707" cy="143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>
                  <a:solidFill>
                    <a:schemeClr val="bg1">
                      <a:lumMod val="50000"/>
                    </a:schemeClr>
                  </a:solidFill>
                </a:rPr>
                <a:t>Why serverless</a:t>
              </a: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Overview: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Pros and Cons 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Popular platforms + frameworks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B2BDE9B-A969-4325-9062-F27B3F679DE3}"/>
              </a:ext>
            </a:extLst>
          </p:cNvPr>
          <p:cNvGrpSpPr/>
          <p:nvPr/>
        </p:nvGrpSpPr>
        <p:grpSpPr>
          <a:xfrm>
            <a:off x="6315075" y="1180282"/>
            <a:ext cx="2221706" cy="2793026"/>
            <a:chOff x="6315075" y="1180282"/>
            <a:chExt cx="2221706" cy="2793026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AF883563-83DD-4C41-8C7D-6E67FDA079AF}"/>
                </a:ext>
              </a:extLst>
            </p:cNvPr>
            <p:cNvSpPr txBox="1"/>
            <p:nvPr/>
          </p:nvSpPr>
          <p:spPr>
            <a:xfrm>
              <a:off x="6315076" y="1180282"/>
              <a:ext cx="84772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B41AE1-DD64-41F1-AD99-A8AF0C33A4A1}"/>
                </a:ext>
              </a:extLst>
            </p:cNvPr>
            <p:cNvSpPr txBox="1"/>
            <p:nvPr/>
          </p:nvSpPr>
          <p:spPr>
            <a:xfrm>
              <a:off x="6315075" y="2057399"/>
              <a:ext cx="2221706" cy="191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>
                  <a:solidFill>
                    <a:schemeClr val="bg1">
                      <a:lumMod val="50000"/>
                    </a:schemeClr>
                  </a:solidFill>
                </a:rPr>
                <a:t>Serverless R in Azure</a:t>
              </a: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Lots of options for: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Batch processing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Realtime processing</a:t>
              </a:r>
            </a:p>
            <a:p>
              <a:pPr marL="171450" indent="-171450">
                <a:buFontTx/>
                <a:buChar char="-"/>
              </a:pPr>
              <a:endParaRPr lang="en-GB" sz="105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Case Studies: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U-SQL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Azure Functions</a:t>
              </a:r>
            </a:p>
          </p:txBody>
        </p:sp>
      </p:grpSp>
      <p:sp>
        <p:nvSpPr>
          <p:cNvPr id="19" name="Titel 4">
            <a:extLst>
              <a:ext uri="{FF2B5EF4-FFF2-40B4-BE49-F238E27FC236}">
                <a16:creationId xmlns:a16="http://schemas.microsoft.com/office/drawing/2014/main" id="{93A0F7C1-6269-4641-99E7-EF5300D84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687" y="279500"/>
            <a:ext cx="5413757" cy="312628"/>
          </a:xfrm>
        </p:spPr>
        <p:txBody>
          <a:bodyPr/>
          <a:lstStyle/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7060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28BC9CA-5201-4560-A99A-5226915BFB3F}"/>
              </a:ext>
            </a:extLst>
          </p:cNvPr>
          <p:cNvGrpSpPr/>
          <p:nvPr/>
        </p:nvGrpSpPr>
        <p:grpSpPr>
          <a:xfrm>
            <a:off x="788307" y="4594403"/>
            <a:ext cx="3928156" cy="208865"/>
            <a:chOff x="652023" y="4561969"/>
            <a:chExt cx="3928156" cy="208865"/>
          </a:xfrm>
        </p:grpSpPr>
        <p:sp>
          <p:nvSpPr>
            <p:cNvPr id="46" name="Textfeld 1"/>
            <p:cNvSpPr txBox="1"/>
            <p:nvPr/>
          </p:nvSpPr>
          <p:spPr>
            <a:xfrm>
              <a:off x="1376478" y="4561969"/>
              <a:ext cx="1758008" cy="155229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de-AT" sz="825" err="1">
                  <a:solidFill>
                    <a:srgbClr val="000000"/>
                  </a:solidFill>
                </a:rPr>
                <a:t>Parcel</a:t>
              </a:r>
              <a:r>
                <a:rPr lang="de-AT" sz="825">
                  <a:solidFill>
                    <a:srgbClr val="000000"/>
                  </a:solidFill>
                </a:rPr>
                <a:t> </a:t>
              </a:r>
              <a:r>
                <a:rPr lang="de-AT" sz="825" err="1">
                  <a:solidFill>
                    <a:srgbClr val="000000"/>
                  </a:solidFill>
                </a:rPr>
                <a:t>division</a:t>
              </a:r>
              <a:endParaRPr lang="de-DE" sz="825">
                <a:solidFill>
                  <a:srgbClr val="000000"/>
                </a:solidFill>
              </a:endParaRPr>
            </a:p>
          </p:txBody>
        </p:sp>
        <p:sp>
          <p:nvSpPr>
            <p:cNvPr id="56" name="Textfeld 1"/>
            <p:cNvSpPr txBox="1"/>
            <p:nvPr/>
          </p:nvSpPr>
          <p:spPr>
            <a:xfrm>
              <a:off x="2650165" y="4569845"/>
              <a:ext cx="1930014" cy="197653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de-AT" sz="825">
                  <a:solidFill>
                    <a:srgbClr val="000000"/>
                  </a:solidFill>
                </a:rPr>
                <a:t>trans-o-flex (</a:t>
              </a:r>
              <a:r>
                <a:rPr lang="de-AT" sz="825" err="1">
                  <a:solidFill>
                    <a:srgbClr val="000000"/>
                  </a:solidFill>
                </a:rPr>
                <a:t>sold</a:t>
              </a:r>
              <a:r>
                <a:rPr lang="de-AT" sz="825">
                  <a:solidFill>
                    <a:srgbClr val="000000"/>
                  </a:solidFill>
                </a:rPr>
                <a:t> 2016)</a:t>
              </a:r>
              <a:endParaRPr lang="de-DE" sz="825">
                <a:solidFill>
                  <a:srgbClr val="000000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 bwMode="auto">
            <a:xfrm>
              <a:off x="652023" y="4653053"/>
              <a:ext cx="135000" cy="776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 sz="1125"/>
            </a:p>
          </p:txBody>
        </p:sp>
        <p:sp>
          <p:nvSpPr>
            <p:cNvPr id="58" name="Rechteck 57"/>
            <p:cNvSpPr/>
            <p:nvPr/>
          </p:nvSpPr>
          <p:spPr bwMode="auto">
            <a:xfrm>
              <a:off x="1719043" y="4653053"/>
              <a:ext cx="135000" cy="77615"/>
            </a:xfrm>
            <a:prstGeom prst="rect">
              <a:avLst/>
            </a:prstGeom>
            <a:solidFill>
              <a:srgbClr val="FDF8BF"/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 sz="1125"/>
            </a:p>
          </p:txBody>
        </p:sp>
        <p:sp>
          <p:nvSpPr>
            <p:cNvPr id="59" name="Rechteck 58"/>
            <p:cNvSpPr/>
            <p:nvPr/>
          </p:nvSpPr>
          <p:spPr bwMode="auto">
            <a:xfrm>
              <a:off x="2842852" y="4653053"/>
              <a:ext cx="135000" cy="77615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  <a:prstDash val="dash"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 sz="1125"/>
            </a:p>
          </p:txBody>
        </p:sp>
        <p:sp>
          <p:nvSpPr>
            <p:cNvPr id="63" name="Textfeld 1"/>
            <p:cNvSpPr txBox="1"/>
            <p:nvPr/>
          </p:nvSpPr>
          <p:spPr>
            <a:xfrm>
              <a:off x="756101" y="4573182"/>
              <a:ext cx="854953" cy="197652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685800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de-AT" sz="825">
                  <a:solidFill>
                    <a:srgbClr val="000000"/>
                  </a:solidFill>
                </a:rPr>
                <a:t>Mail </a:t>
              </a:r>
              <a:r>
                <a:rPr lang="de-AT" sz="825" err="1">
                  <a:solidFill>
                    <a:srgbClr val="000000"/>
                  </a:solidFill>
                </a:rPr>
                <a:t>division</a:t>
              </a:r>
              <a:endParaRPr lang="de-DE" sz="825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9" name="Diagramm 28"/>
          <p:cNvGraphicFramePr/>
          <p:nvPr>
            <p:extLst/>
          </p:nvPr>
        </p:nvGraphicFramePr>
        <p:xfrm>
          <a:off x="689890" y="1689659"/>
          <a:ext cx="3300834" cy="2906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0" name="Gruppieren 29"/>
          <p:cNvGrpSpPr/>
          <p:nvPr/>
        </p:nvGrpSpPr>
        <p:grpSpPr>
          <a:xfrm>
            <a:off x="1965352" y="2095199"/>
            <a:ext cx="945000" cy="378000"/>
            <a:chOff x="1864351" y="3160393"/>
            <a:chExt cx="1260000" cy="504000"/>
          </a:xfrm>
        </p:grpSpPr>
        <p:sp>
          <p:nvSpPr>
            <p:cNvPr id="32" name="Freeform 1"/>
            <p:cNvSpPr>
              <a:spLocks noChangeArrowheads="1"/>
            </p:cNvSpPr>
            <p:nvPr/>
          </p:nvSpPr>
          <p:spPr bwMode="auto">
            <a:xfrm>
              <a:off x="1864351" y="3160393"/>
              <a:ext cx="1260000" cy="504000"/>
            </a:xfrm>
            <a:custGeom>
              <a:avLst/>
              <a:gdLst>
                <a:gd name="T0" fmla="*/ 1600 w 2733"/>
                <a:gd name="T1" fmla="*/ 0 h 2261"/>
                <a:gd name="T2" fmla="*/ 1600 w 2733"/>
                <a:gd name="T3" fmla="*/ 327 h 2261"/>
                <a:gd name="T4" fmla="*/ 0 w 2733"/>
                <a:gd name="T5" fmla="*/ 327 h 2261"/>
                <a:gd name="T6" fmla="*/ 0 w 2733"/>
                <a:gd name="T7" fmla="*/ 1933 h 2261"/>
                <a:gd name="T8" fmla="*/ 1600 w 2733"/>
                <a:gd name="T9" fmla="*/ 1933 h 2261"/>
                <a:gd name="T10" fmla="*/ 1600 w 2733"/>
                <a:gd name="T11" fmla="*/ 2260 h 2261"/>
                <a:gd name="T12" fmla="*/ 1600 w 2733"/>
                <a:gd name="T13" fmla="*/ 2260 h 2261"/>
                <a:gd name="T14" fmla="*/ 2732 w 2733"/>
                <a:gd name="T15" fmla="*/ 1130 h 2261"/>
                <a:gd name="T16" fmla="*/ 1600 w 2733"/>
                <a:gd name="T17" fmla="*/ 0 h 2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3" h="2261">
                  <a:moveTo>
                    <a:pt x="1600" y="0"/>
                  </a:moveTo>
                  <a:lnTo>
                    <a:pt x="1600" y="327"/>
                  </a:lnTo>
                  <a:lnTo>
                    <a:pt x="0" y="327"/>
                  </a:lnTo>
                  <a:lnTo>
                    <a:pt x="0" y="1933"/>
                  </a:lnTo>
                  <a:lnTo>
                    <a:pt x="1600" y="1933"/>
                  </a:lnTo>
                  <a:lnTo>
                    <a:pt x="1600" y="2260"/>
                  </a:lnTo>
                  <a:lnTo>
                    <a:pt x="1600" y="2260"/>
                  </a:lnTo>
                  <a:lnTo>
                    <a:pt x="2732" y="1130"/>
                  </a:lnTo>
                  <a:lnTo>
                    <a:pt x="1600" y="0"/>
                  </a:lnTo>
                </a:path>
              </a:pathLst>
            </a:custGeom>
            <a:solidFill>
              <a:srgbClr val="1F83AD"/>
            </a:solidFill>
            <a:ln>
              <a:noFill/>
            </a:ln>
            <a:effectLst/>
          </p:spPr>
          <p:txBody>
            <a:bodyPr wrap="none" anchor="ctr"/>
            <a:lstStyle/>
            <a:p>
              <a:r>
                <a:rPr lang="de-DE" sz="1125" b="1"/>
                <a:t>     </a:t>
              </a:r>
              <a:r>
                <a:rPr lang="de-DE" sz="1050" b="1">
                  <a:solidFill>
                    <a:schemeClr val="bg1"/>
                  </a:solidFill>
                </a:rPr>
                <a:t>+17,7%</a:t>
              </a:r>
            </a:p>
          </p:txBody>
        </p:sp>
        <p:grpSp>
          <p:nvGrpSpPr>
            <p:cNvPr id="33" name="Group 14"/>
            <p:cNvGrpSpPr>
              <a:grpSpLocks noChangeAspect="1"/>
            </p:cNvGrpSpPr>
            <p:nvPr/>
          </p:nvGrpSpPr>
          <p:grpSpPr bwMode="auto">
            <a:xfrm>
              <a:off x="1938620" y="3285872"/>
              <a:ext cx="213379" cy="252780"/>
              <a:chOff x="3311" y="816"/>
              <a:chExt cx="221" cy="276"/>
            </a:xfrm>
          </p:grpSpPr>
          <p:sp>
            <p:nvSpPr>
              <p:cNvPr id="34" name="Freeform 15"/>
              <p:cNvSpPr>
                <a:spLocks noChangeArrowheads="1"/>
              </p:cNvSpPr>
              <p:nvPr/>
            </p:nvSpPr>
            <p:spPr bwMode="auto">
              <a:xfrm>
                <a:off x="3311" y="816"/>
                <a:ext cx="221" cy="276"/>
              </a:xfrm>
              <a:custGeom>
                <a:avLst/>
                <a:gdLst>
                  <a:gd name="T0" fmla="*/ 275 w 1155"/>
                  <a:gd name="T1" fmla="*/ 178 h 1305"/>
                  <a:gd name="T2" fmla="*/ 44 w 1155"/>
                  <a:gd name="T3" fmla="*/ 302 h 1305"/>
                  <a:gd name="T4" fmla="*/ 577 w 1155"/>
                  <a:gd name="T5" fmla="*/ 613 h 1305"/>
                  <a:gd name="T6" fmla="*/ 799 w 1155"/>
                  <a:gd name="T7" fmla="*/ 479 h 1305"/>
                  <a:gd name="T8" fmla="*/ 275 w 1155"/>
                  <a:gd name="T9" fmla="*/ 178 h 1305"/>
                  <a:gd name="T10" fmla="*/ 1101 w 1155"/>
                  <a:gd name="T11" fmla="*/ 311 h 1305"/>
                  <a:gd name="T12" fmla="*/ 577 w 1155"/>
                  <a:gd name="T13" fmla="*/ 0 h 1305"/>
                  <a:gd name="T14" fmla="*/ 373 w 1155"/>
                  <a:gd name="T15" fmla="*/ 115 h 1305"/>
                  <a:gd name="T16" fmla="*/ 896 w 1155"/>
                  <a:gd name="T17" fmla="*/ 426 h 1305"/>
                  <a:gd name="T18" fmla="*/ 1101 w 1155"/>
                  <a:gd name="T19" fmla="*/ 311 h 1305"/>
                  <a:gd name="T20" fmla="*/ 621 w 1155"/>
                  <a:gd name="T21" fmla="*/ 700 h 1305"/>
                  <a:gd name="T22" fmla="*/ 621 w 1155"/>
                  <a:gd name="T23" fmla="*/ 1304 h 1305"/>
                  <a:gd name="T24" fmla="*/ 1154 w 1155"/>
                  <a:gd name="T25" fmla="*/ 1002 h 1305"/>
                  <a:gd name="T26" fmla="*/ 1154 w 1155"/>
                  <a:gd name="T27" fmla="*/ 391 h 1305"/>
                  <a:gd name="T28" fmla="*/ 621 w 1155"/>
                  <a:gd name="T29" fmla="*/ 700 h 1305"/>
                  <a:gd name="T30" fmla="*/ 0 w 1155"/>
                  <a:gd name="T31" fmla="*/ 1002 h 1305"/>
                  <a:gd name="T32" fmla="*/ 524 w 1155"/>
                  <a:gd name="T33" fmla="*/ 1304 h 1305"/>
                  <a:gd name="T34" fmla="*/ 524 w 1155"/>
                  <a:gd name="T35" fmla="*/ 691 h 1305"/>
                  <a:gd name="T36" fmla="*/ 0 w 1155"/>
                  <a:gd name="T37" fmla="*/ 391 h 1305"/>
                  <a:gd name="T38" fmla="*/ 0 w 1155"/>
                  <a:gd name="T39" fmla="*/ 1002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55" h="1305">
                    <a:moveTo>
                      <a:pt x="275" y="178"/>
                    </a:moveTo>
                    <a:lnTo>
                      <a:pt x="44" y="302"/>
                    </a:lnTo>
                    <a:lnTo>
                      <a:pt x="577" y="613"/>
                    </a:lnTo>
                    <a:lnTo>
                      <a:pt x="799" y="479"/>
                    </a:lnTo>
                    <a:lnTo>
                      <a:pt x="275" y="178"/>
                    </a:lnTo>
                    <a:close/>
                    <a:moveTo>
                      <a:pt x="1101" y="311"/>
                    </a:moveTo>
                    <a:lnTo>
                      <a:pt x="577" y="0"/>
                    </a:lnTo>
                    <a:lnTo>
                      <a:pt x="373" y="115"/>
                    </a:lnTo>
                    <a:lnTo>
                      <a:pt x="896" y="426"/>
                    </a:lnTo>
                    <a:lnTo>
                      <a:pt x="1101" y="311"/>
                    </a:lnTo>
                    <a:close/>
                    <a:moveTo>
                      <a:pt x="621" y="700"/>
                    </a:moveTo>
                    <a:lnTo>
                      <a:pt x="621" y="1304"/>
                    </a:lnTo>
                    <a:lnTo>
                      <a:pt x="1154" y="1002"/>
                    </a:lnTo>
                    <a:lnTo>
                      <a:pt x="1154" y="391"/>
                    </a:lnTo>
                    <a:lnTo>
                      <a:pt x="621" y="700"/>
                    </a:lnTo>
                    <a:close/>
                    <a:moveTo>
                      <a:pt x="0" y="1002"/>
                    </a:moveTo>
                    <a:lnTo>
                      <a:pt x="524" y="1304"/>
                    </a:lnTo>
                    <a:lnTo>
                      <a:pt x="524" y="691"/>
                    </a:lnTo>
                    <a:lnTo>
                      <a:pt x="0" y="391"/>
                    </a:lnTo>
                    <a:lnTo>
                      <a:pt x="0" y="10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125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3" name="Group 107"/>
          <p:cNvGrpSpPr>
            <a:grpSpLocks noChangeAspect="1"/>
          </p:cNvGrpSpPr>
          <p:nvPr/>
        </p:nvGrpSpPr>
        <p:grpSpPr bwMode="auto">
          <a:xfrm>
            <a:off x="1946835" y="3479806"/>
            <a:ext cx="215852" cy="135000"/>
            <a:chOff x="3084" y="862"/>
            <a:chExt cx="291" cy="182"/>
          </a:xfrm>
          <a:solidFill>
            <a:schemeClr val="bg1"/>
          </a:solidFill>
        </p:grpSpPr>
        <p:sp>
          <p:nvSpPr>
            <p:cNvPr id="44" name="Freeform 108"/>
            <p:cNvSpPr>
              <a:spLocks noChangeArrowheads="1"/>
            </p:cNvSpPr>
            <p:nvPr/>
          </p:nvSpPr>
          <p:spPr bwMode="auto">
            <a:xfrm>
              <a:off x="3084" y="862"/>
              <a:ext cx="292" cy="183"/>
            </a:xfrm>
            <a:custGeom>
              <a:avLst/>
              <a:gdLst>
                <a:gd name="T0" fmla="*/ 1279 w 1290"/>
                <a:gd name="T1" fmla="*/ 0 h 810"/>
                <a:gd name="T2" fmla="*/ 16 w 1290"/>
                <a:gd name="T3" fmla="*/ 0 h 810"/>
                <a:gd name="T4" fmla="*/ 644 w 1290"/>
                <a:gd name="T5" fmla="*/ 537 h 810"/>
                <a:gd name="T6" fmla="*/ 1279 w 1290"/>
                <a:gd name="T7" fmla="*/ 0 h 810"/>
                <a:gd name="T8" fmla="*/ 644 w 1290"/>
                <a:gd name="T9" fmla="*/ 634 h 810"/>
                <a:gd name="T10" fmla="*/ 0 w 1290"/>
                <a:gd name="T11" fmla="*/ 83 h 810"/>
                <a:gd name="T12" fmla="*/ 0 w 1290"/>
                <a:gd name="T13" fmla="*/ 809 h 810"/>
                <a:gd name="T14" fmla="*/ 1289 w 1290"/>
                <a:gd name="T15" fmla="*/ 809 h 810"/>
                <a:gd name="T16" fmla="*/ 1289 w 1290"/>
                <a:gd name="T17" fmla="*/ 89 h 810"/>
                <a:gd name="T18" fmla="*/ 644 w 1290"/>
                <a:gd name="T19" fmla="*/ 63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0" h="810">
                  <a:moveTo>
                    <a:pt x="1279" y="0"/>
                  </a:moveTo>
                  <a:lnTo>
                    <a:pt x="16" y="0"/>
                  </a:lnTo>
                  <a:lnTo>
                    <a:pt x="644" y="537"/>
                  </a:lnTo>
                  <a:lnTo>
                    <a:pt x="1279" y="0"/>
                  </a:lnTo>
                  <a:close/>
                  <a:moveTo>
                    <a:pt x="644" y="634"/>
                  </a:moveTo>
                  <a:lnTo>
                    <a:pt x="0" y="83"/>
                  </a:lnTo>
                  <a:lnTo>
                    <a:pt x="0" y="809"/>
                  </a:lnTo>
                  <a:lnTo>
                    <a:pt x="1289" y="809"/>
                  </a:lnTo>
                  <a:lnTo>
                    <a:pt x="1289" y="89"/>
                  </a:lnTo>
                  <a:lnTo>
                    <a:pt x="644" y="634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125">
                <a:solidFill>
                  <a:srgbClr val="000000"/>
                </a:solidFill>
              </a:endParaRPr>
            </a:p>
          </p:txBody>
        </p:sp>
      </p:grpSp>
      <p:sp>
        <p:nvSpPr>
          <p:cNvPr id="47" name="Textfeld 1"/>
          <p:cNvSpPr txBox="1"/>
          <p:nvPr/>
        </p:nvSpPr>
        <p:spPr>
          <a:xfrm>
            <a:off x="885291" y="1608046"/>
            <a:ext cx="753614" cy="2163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50">
                <a:solidFill>
                  <a:schemeClr val="accent5"/>
                </a:solidFill>
              </a:rPr>
              <a:t>2.030,5</a:t>
            </a:r>
          </a:p>
        </p:txBody>
      </p:sp>
      <p:sp>
        <p:nvSpPr>
          <p:cNvPr id="55" name="Textfeld 1"/>
          <p:cNvSpPr txBox="1"/>
          <p:nvPr/>
        </p:nvSpPr>
        <p:spPr>
          <a:xfrm>
            <a:off x="1409736" y="1774718"/>
            <a:ext cx="753614" cy="2163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50" b="1"/>
              <a:t>1.895,6</a:t>
            </a:r>
          </a:p>
        </p:txBody>
      </p:sp>
      <p:grpSp>
        <p:nvGrpSpPr>
          <p:cNvPr id="61" name="Gruppieren 60"/>
          <p:cNvGrpSpPr/>
          <p:nvPr/>
        </p:nvGrpSpPr>
        <p:grpSpPr>
          <a:xfrm>
            <a:off x="1965352" y="3259766"/>
            <a:ext cx="945000" cy="378000"/>
            <a:chOff x="1974088" y="3322531"/>
            <a:chExt cx="1260000" cy="504000"/>
          </a:xfrm>
        </p:grpSpPr>
        <p:sp>
          <p:nvSpPr>
            <p:cNvPr id="64" name="Freeform 1"/>
            <p:cNvSpPr>
              <a:spLocks noChangeArrowheads="1"/>
            </p:cNvSpPr>
            <p:nvPr/>
          </p:nvSpPr>
          <p:spPr bwMode="auto">
            <a:xfrm>
              <a:off x="1974088" y="3322531"/>
              <a:ext cx="1260000" cy="504000"/>
            </a:xfrm>
            <a:custGeom>
              <a:avLst/>
              <a:gdLst>
                <a:gd name="T0" fmla="*/ 1600 w 2733"/>
                <a:gd name="T1" fmla="*/ 0 h 2261"/>
                <a:gd name="T2" fmla="*/ 1600 w 2733"/>
                <a:gd name="T3" fmla="*/ 327 h 2261"/>
                <a:gd name="T4" fmla="*/ 0 w 2733"/>
                <a:gd name="T5" fmla="*/ 327 h 2261"/>
                <a:gd name="T6" fmla="*/ 0 w 2733"/>
                <a:gd name="T7" fmla="*/ 1933 h 2261"/>
                <a:gd name="T8" fmla="*/ 1600 w 2733"/>
                <a:gd name="T9" fmla="*/ 1933 h 2261"/>
                <a:gd name="T10" fmla="*/ 1600 w 2733"/>
                <a:gd name="T11" fmla="*/ 2260 h 2261"/>
                <a:gd name="T12" fmla="*/ 1600 w 2733"/>
                <a:gd name="T13" fmla="*/ 2260 h 2261"/>
                <a:gd name="T14" fmla="*/ 2732 w 2733"/>
                <a:gd name="T15" fmla="*/ 1130 h 2261"/>
                <a:gd name="T16" fmla="*/ 1600 w 2733"/>
                <a:gd name="T17" fmla="*/ 0 h 2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3" h="2261">
                  <a:moveTo>
                    <a:pt x="1600" y="0"/>
                  </a:moveTo>
                  <a:lnTo>
                    <a:pt x="1600" y="327"/>
                  </a:lnTo>
                  <a:lnTo>
                    <a:pt x="0" y="327"/>
                  </a:lnTo>
                  <a:lnTo>
                    <a:pt x="0" y="1933"/>
                  </a:lnTo>
                  <a:lnTo>
                    <a:pt x="1600" y="1933"/>
                  </a:lnTo>
                  <a:lnTo>
                    <a:pt x="1600" y="2260"/>
                  </a:lnTo>
                  <a:lnTo>
                    <a:pt x="1600" y="2260"/>
                  </a:lnTo>
                  <a:lnTo>
                    <a:pt x="2732" y="1130"/>
                  </a:lnTo>
                  <a:lnTo>
                    <a:pt x="1600" y="0"/>
                  </a:lnTo>
                </a:path>
              </a:pathLst>
            </a:custGeom>
            <a:solidFill>
              <a:srgbClr val="1F83AD"/>
            </a:solidFill>
            <a:ln>
              <a:noFill/>
            </a:ln>
            <a:effectLst/>
          </p:spPr>
          <p:txBody>
            <a:bodyPr wrap="none" anchor="ctr"/>
            <a:lstStyle/>
            <a:p>
              <a:r>
                <a:rPr lang="de-DE" sz="1125" b="1"/>
                <a:t>     </a:t>
              </a:r>
              <a:r>
                <a:rPr lang="de-DE" sz="1050" b="1">
                  <a:solidFill>
                    <a:schemeClr val="bg1"/>
                  </a:solidFill>
                </a:rPr>
                <a:t>-2,1%</a:t>
              </a:r>
            </a:p>
          </p:txBody>
        </p:sp>
        <p:grpSp>
          <p:nvGrpSpPr>
            <p:cNvPr id="65" name="Group 107"/>
            <p:cNvGrpSpPr>
              <a:grpSpLocks noChangeAspect="1"/>
            </p:cNvGrpSpPr>
            <p:nvPr/>
          </p:nvGrpSpPr>
          <p:grpSpPr bwMode="auto">
            <a:xfrm>
              <a:off x="2082181" y="3478453"/>
              <a:ext cx="243297" cy="180988"/>
              <a:chOff x="3084" y="862"/>
              <a:chExt cx="246" cy="183"/>
            </a:xfrm>
            <a:solidFill>
              <a:schemeClr val="bg1"/>
            </a:solidFill>
          </p:grpSpPr>
          <p:sp>
            <p:nvSpPr>
              <p:cNvPr id="66" name="Freeform 108"/>
              <p:cNvSpPr>
                <a:spLocks noChangeArrowheads="1"/>
              </p:cNvSpPr>
              <p:nvPr/>
            </p:nvSpPr>
            <p:spPr bwMode="auto">
              <a:xfrm>
                <a:off x="3084" y="862"/>
                <a:ext cx="246" cy="183"/>
              </a:xfrm>
              <a:custGeom>
                <a:avLst/>
                <a:gdLst>
                  <a:gd name="T0" fmla="*/ 1279 w 1290"/>
                  <a:gd name="T1" fmla="*/ 0 h 810"/>
                  <a:gd name="T2" fmla="*/ 16 w 1290"/>
                  <a:gd name="T3" fmla="*/ 0 h 810"/>
                  <a:gd name="T4" fmla="*/ 644 w 1290"/>
                  <a:gd name="T5" fmla="*/ 537 h 810"/>
                  <a:gd name="T6" fmla="*/ 1279 w 1290"/>
                  <a:gd name="T7" fmla="*/ 0 h 810"/>
                  <a:gd name="T8" fmla="*/ 644 w 1290"/>
                  <a:gd name="T9" fmla="*/ 634 h 810"/>
                  <a:gd name="T10" fmla="*/ 0 w 1290"/>
                  <a:gd name="T11" fmla="*/ 83 h 810"/>
                  <a:gd name="T12" fmla="*/ 0 w 1290"/>
                  <a:gd name="T13" fmla="*/ 809 h 810"/>
                  <a:gd name="T14" fmla="*/ 1289 w 1290"/>
                  <a:gd name="T15" fmla="*/ 809 h 810"/>
                  <a:gd name="T16" fmla="*/ 1289 w 1290"/>
                  <a:gd name="T17" fmla="*/ 89 h 810"/>
                  <a:gd name="T18" fmla="*/ 644 w 1290"/>
                  <a:gd name="T19" fmla="*/ 634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0" h="810">
                    <a:moveTo>
                      <a:pt x="1279" y="0"/>
                    </a:moveTo>
                    <a:lnTo>
                      <a:pt x="16" y="0"/>
                    </a:lnTo>
                    <a:lnTo>
                      <a:pt x="644" y="537"/>
                    </a:lnTo>
                    <a:lnTo>
                      <a:pt x="1279" y="0"/>
                    </a:lnTo>
                    <a:close/>
                    <a:moveTo>
                      <a:pt x="644" y="634"/>
                    </a:moveTo>
                    <a:lnTo>
                      <a:pt x="0" y="83"/>
                    </a:lnTo>
                    <a:lnTo>
                      <a:pt x="0" y="809"/>
                    </a:lnTo>
                    <a:lnTo>
                      <a:pt x="1289" y="809"/>
                    </a:lnTo>
                    <a:lnTo>
                      <a:pt x="1289" y="89"/>
                    </a:lnTo>
                    <a:lnTo>
                      <a:pt x="644" y="63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125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AutoShape 17"/>
          <p:cNvSpPr>
            <a:spLocks/>
          </p:cNvSpPr>
          <p:nvPr/>
        </p:nvSpPr>
        <p:spPr bwMode="gray">
          <a:xfrm rot="5400000" flipH="1">
            <a:off x="2483075" y="764554"/>
            <a:ext cx="108860" cy="179720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e-AT" sz="1125">
              <a:solidFill>
                <a:srgbClr val="000000"/>
              </a:solidFill>
            </a:endParaRPr>
          </a:p>
        </p:txBody>
      </p:sp>
      <p:sp>
        <p:nvSpPr>
          <p:cNvPr id="68" name="Oval 18"/>
          <p:cNvSpPr>
            <a:spLocks noChangeArrowheads="1"/>
          </p:cNvSpPr>
          <p:nvPr/>
        </p:nvSpPr>
        <p:spPr bwMode="gray">
          <a:xfrm>
            <a:off x="2238254" y="1432858"/>
            <a:ext cx="458244" cy="348218"/>
          </a:xfrm>
          <a:prstGeom prst="ellipse">
            <a:avLst/>
          </a:prstGeom>
          <a:solidFill>
            <a:srgbClr val="1F83AD"/>
          </a:solidFill>
          <a:ln>
            <a:noFill/>
          </a:ln>
          <a:extLst/>
        </p:spPr>
        <p:txBody>
          <a:bodyPr wrap="none" lIns="0" tIns="0" rIns="0" bIns="0" anchor="ctr" anchorCtr="1"/>
          <a:lstStyle/>
          <a:p>
            <a:pPr algn="ctr"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50" b="1">
                <a:solidFill>
                  <a:schemeClr val="bg1"/>
                </a:solidFill>
              </a:rPr>
              <a:t>+2,3%</a:t>
            </a:r>
          </a:p>
        </p:txBody>
      </p:sp>
      <p:sp>
        <p:nvSpPr>
          <p:cNvPr id="70" name="Textfeld 1"/>
          <p:cNvSpPr txBox="1"/>
          <p:nvPr/>
        </p:nvSpPr>
        <p:spPr>
          <a:xfrm>
            <a:off x="3015538" y="1717583"/>
            <a:ext cx="753614" cy="2163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50" b="1"/>
              <a:t>1.938,9</a:t>
            </a:r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770BAA1E-4BF8-44BD-AC90-315C18985D3A}"/>
              </a:ext>
            </a:extLst>
          </p:cNvPr>
          <p:cNvSpPr txBox="1">
            <a:spLocks/>
          </p:cNvSpPr>
          <p:nvPr/>
        </p:nvSpPr>
        <p:spPr>
          <a:xfrm>
            <a:off x="4716463" y="1023938"/>
            <a:ext cx="4032250" cy="332232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1050" cap="all" err="1">
                <a:latin typeface="+mj-lt"/>
              </a:rPr>
              <a:t>Parcel</a:t>
            </a:r>
            <a:r>
              <a:rPr lang="fr-FR" sz="1050" cap="all">
                <a:latin typeface="+mj-lt"/>
              </a:rPr>
              <a:t> volumes of </a:t>
            </a:r>
            <a:r>
              <a:rPr lang="fr-FR" sz="1050" cap="all" err="1">
                <a:latin typeface="+mj-lt"/>
              </a:rPr>
              <a:t>Austrian</a:t>
            </a:r>
            <a:r>
              <a:rPr lang="fr-FR" sz="1050" cap="all">
                <a:latin typeface="+mj-lt"/>
              </a:rPr>
              <a:t> Post</a:t>
            </a:r>
            <a:br>
              <a:rPr lang="fr-FR" sz="1050" cap="all">
                <a:latin typeface="+mj-lt"/>
              </a:rPr>
            </a:br>
            <a:r>
              <a:rPr lang="de-AT" sz="1050" err="1"/>
              <a:t>mio</a:t>
            </a:r>
            <a:r>
              <a:rPr lang="de-AT" sz="1050"/>
              <a:t> </a:t>
            </a:r>
            <a:r>
              <a:rPr lang="de-AT" sz="1050" err="1"/>
              <a:t>parcels</a:t>
            </a:r>
            <a:endParaRPr lang="de-AT" sz="1050"/>
          </a:p>
        </p:txBody>
      </p:sp>
      <p:graphicFrame>
        <p:nvGraphicFramePr>
          <p:cNvPr id="36" name="Diagramm 35">
            <a:extLst>
              <a:ext uri="{FF2B5EF4-FFF2-40B4-BE49-F238E27FC236}">
                <a16:creationId xmlns:a16="http://schemas.microsoft.com/office/drawing/2014/main" id="{2F01D9A2-C8BC-45F0-9AAD-2682962E45C0}"/>
              </a:ext>
            </a:extLst>
          </p:cNvPr>
          <p:cNvGraphicFramePr/>
          <p:nvPr>
            <p:extLst/>
          </p:nvPr>
        </p:nvGraphicFramePr>
        <p:xfrm>
          <a:off x="5094621" y="1774718"/>
          <a:ext cx="3248852" cy="295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7" name="AutoShape 6">
            <a:extLst>
              <a:ext uri="{FF2B5EF4-FFF2-40B4-BE49-F238E27FC236}">
                <a16:creationId xmlns:a16="http://schemas.microsoft.com/office/drawing/2014/main" id="{108FF532-93F1-44DD-889F-D2DAF96C6977}"/>
              </a:ext>
            </a:extLst>
          </p:cNvPr>
          <p:cNvSpPr>
            <a:spLocks/>
          </p:cNvSpPr>
          <p:nvPr/>
        </p:nvSpPr>
        <p:spPr bwMode="gray">
          <a:xfrm rot="5400000" flipH="1">
            <a:off x="7760686" y="1701372"/>
            <a:ext cx="124200" cy="579291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de-DE" sz="1350" b="1" kern="0">
              <a:solidFill>
                <a:srgbClr val="000000"/>
              </a:solidFill>
            </a:endParaRPr>
          </a:p>
        </p:txBody>
      </p:sp>
      <p:sp>
        <p:nvSpPr>
          <p:cNvPr id="38" name="Oval 18">
            <a:extLst>
              <a:ext uri="{FF2B5EF4-FFF2-40B4-BE49-F238E27FC236}">
                <a16:creationId xmlns:a16="http://schemas.microsoft.com/office/drawing/2014/main" id="{9D912B53-3CC3-4CA6-A3BE-63F1112F9C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05745" y="1808052"/>
            <a:ext cx="460021" cy="226610"/>
          </a:xfrm>
          <a:prstGeom prst="ellipse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lIns="0" tIns="0" rIns="0" bIns="0" anchor="ctr" anchorCtr="1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de-DE" sz="1050" b="1" kern="0">
                <a:solidFill>
                  <a:schemeClr val="bg1"/>
                </a:solidFill>
              </a:rPr>
              <a:t>+20%</a:t>
            </a:r>
          </a:p>
        </p:txBody>
      </p:sp>
      <p:sp>
        <p:nvSpPr>
          <p:cNvPr id="39" name="AutoShape 6">
            <a:extLst>
              <a:ext uri="{FF2B5EF4-FFF2-40B4-BE49-F238E27FC236}">
                <a16:creationId xmlns:a16="http://schemas.microsoft.com/office/drawing/2014/main" id="{DD41EF4D-6ABA-49FF-88A6-6EE98865F7F6}"/>
              </a:ext>
            </a:extLst>
          </p:cNvPr>
          <p:cNvSpPr>
            <a:spLocks/>
          </p:cNvSpPr>
          <p:nvPr/>
        </p:nvSpPr>
        <p:spPr bwMode="gray">
          <a:xfrm rot="5400000" flipH="1">
            <a:off x="6628780" y="268109"/>
            <a:ext cx="124200" cy="284310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defTabSz="6858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de-DE" sz="1350" b="1" kern="0">
              <a:solidFill>
                <a:srgbClr val="000000"/>
              </a:solidFill>
            </a:endParaRPr>
          </a:p>
        </p:txBody>
      </p:sp>
      <p:sp>
        <p:nvSpPr>
          <p:cNvPr id="45" name="Oval 18">
            <a:extLst>
              <a:ext uri="{FF2B5EF4-FFF2-40B4-BE49-F238E27FC236}">
                <a16:creationId xmlns:a16="http://schemas.microsoft.com/office/drawing/2014/main" id="{8C366043-4381-4974-800A-6E23B1D95E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12107" y="1515835"/>
            <a:ext cx="649070" cy="226610"/>
          </a:xfrm>
          <a:prstGeom prst="ellipse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lIns="0" tIns="0" rIns="0" bIns="0" anchor="ctr" anchorCtr="1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de-DE" sz="1050" b="1">
                <a:solidFill>
                  <a:schemeClr val="bg1"/>
                </a:solidFill>
              </a:rPr>
              <a:t>Ø </a:t>
            </a:r>
            <a:r>
              <a:rPr lang="de-DE" sz="1050" b="1" kern="0">
                <a:solidFill>
                  <a:schemeClr val="bg1"/>
                </a:solidFill>
              </a:rPr>
              <a:t>+9%</a:t>
            </a:r>
          </a:p>
        </p:txBody>
      </p:sp>
      <p:sp>
        <p:nvSpPr>
          <p:cNvPr id="48" name="Inhaltsplatzhalter 1">
            <a:extLst>
              <a:ext uri="{FF2B5EF4-FFF2-40B4-BE49-F238E27FC236}">
                <a16:creationId xmlns:a16="http://schemas.microsoft.com/office/drawing/2014/main" id="{CBC87FA8-A8EF-4392-B0DA-8FCB6C869DB1}"/>
              </a:ext>
            </a:extLst>
          </p:cNvPr>
          <p:cNvSpPr txBox="1">
            <a:spLocks/>
          </p:cNvSpPr>
          <p:nvPr/>
        </p:nvSpPr>
        <p:spPr>
          <a:xfrm>
            <a:off x="395287" y="1018710"/>
            <a:ext cx="4032251" cy="337459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0" rIns="27000" bIns="54000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50" cap="all">
                <a:latin typeface="+mj-lt"/>
              </a:rPr>
              <a:t>Sales Performance</a:t>
            </a:r>
          </a:p>
          <a:p>
            <a:pPr>
              <a:spcBef>
                <a:spcPts val="0"/>
              </a:spcBef>
            </a:pPr>
            <a:r>
              <a:rPr lang="de-AT" sz="1050" err="1"/>
              <a:t>mio</a:t>
            </a:r>
            <a:r>
              <a:rPr lang="de-AT" sz="1050"/>
              <a:t> EUR</a:t>
            </a:r>
            <a:endParaRPr lang="de-AT"/>
          </a:p>
        </p:txBody>
      </p:sp>
      <p:sp>
        <p:nvSpPr>
          <p:cNvPr id="40" name="Titel 5">
            <a:extLst>
              <a:ext uri="{FF2B5EF4-FFF2-40B4-BE49-F238E27FC236}">
                <a16:creationId xmlns:a16="http://schemas.microsoft.com/office/drawing/2014/main" id="{2FF02402-0543-45B4-A2F6-6BBF819108EC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/>
              <a:t>Company Performance &amp; Parcel Volumes Over time</a:t>
            </a:r>
            <a:endParaRPr lang="de-AT" sz="1600"/>
          </a:p>
        </p:txBody>
      </p:sp>
      <p:sp>
        <p:nvSpPr>
          <p:cNvPr id="41" name="Titel 5">
            <a:extLst>
              <a:ext uri="{FF2B5EF4-FFF2-40B4-BE49-F238E27FC236}">
                <a16:creationId xmlns:a16="http://schemas.microsoft.com/office/drawing/2014/main" id="{11146A2E-1953-4544-8D7F-D51D9F00D517}"/>
              </a:ext>
            </a:extLst>
          </p:cNvPr>
          <p:cNvSpPr txBox="1">
            <a:spLocks/>
          </p:cNvSpPr>
          <p:nvPr/>
        </p:nvSpPr>
        <p:spPr>
          <a:xfrm>
            <a:off x="395289" y="138190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AT"/>
          </a:p>
        </p:txBody>
      </p:sp>
      <p:sp>
        <p:nvSpPr>
          <p:cNvPr id="50" name="Titel 5">
            <a:extLst>
              <a:ext uri="{FF2B5EF4-FFF2-40B4-BE49-F238E27FC236}">
                <a16:creationId xmlns:a16="http://schemas.microsoft.com/office/drawing/2014/main" id="{3670DB28-480B-4A8E-B8D5-A0E2438401C1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Overview: POST AG</a:t>
            </a:r>
          </a:p>
        </p:txBody>
      </p:sp>
    </p:spTree>
    <p:extLst>
      <p:ext uri="{BB962C8B-B14F-4D97-AF65-F5344CB8AC3E}">
        <p14:creationId xmlns:p14="http://schemas.microsoft.com/office/powerpoint/2010/main" val="2160947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Graphic spid="36" grpId="0">
        <p:bldAsOne/>
      </p:bldGraphic>
      <p:bldP spid="37" grpId="0" animBg="1"/>
      <p:bldP spid="38" grpId="0" animBg="1"/>
      <p:bldP spid="39" grpId="0" animBg="1"/>
      <p:bldP spid="4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E33775-4456-4DA1-A37D-9A7FBE55F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E33775-4456-4DA1-A37D-9A7FBE55F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uppieren 16"/>
          <p:cNvGrpSpPr>
            <a:grpSpLocks noChangeAspect="1"/>
          </p:cNvGrpSpPr>
          <p:nvPr/>
        </p:nvGrpSpPr>
        <p:grpSpPr>
          <a:xfrm>
            <a:off x="1762274" y="1376965"/>
            <a:ext cx="6972785" cy="3508839"/>
            <a:chOff x="1176565" y="1427276"/>
            <a:chExt cx="8670802" cy="4550547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1176565" y="1427276"/>
              <a:ext cx="8600972" cy="4550547"/>
              <a:chOff x="972587" y="1724228"/>
              <a:chExt cx="8246530" cy="4056089"/>
            </a:xfrm>
          </p:grpSpPr>
          <p:grpSp>
            <p:nvGrpSpPr>
              <p:cNvPr id="20" name="Gruppieren 19"/>
              <p:cNvGrpSpPr>
                <a:grpSpLocks noChangeAspect="1"/>
              </p:cNvGrpSpPr>
              <p:nvPr/>
            </p:nvGrpSpPr>
            <p:grpSpPr>
              <a:xfrm>
                <a:off x="972587" y="1724228"/>
                <a:ext cx="8246530" cy="4056089"/>
                <a:chOff x="1668316" y="1283829"/>
                <a:chExt cx="7189408" cy="3536135"/>
              </a:xfrm>
            </p:grpSpPr>
            <p:sp>
              <p:nvSpPr>
                <p:cNvPr id="36" name="Freeform 3"/>
                <p:cNvSpPr>
                  <a:spLocks/>
                </p:cNvSpPr>
                <p:nvPr/>
              </p:nvSpPr>
              <p:spPr bwMode="gray">
                <a:xfrm>
                  <a:off x="4938495" y="2502293"/>
                  <a:ext cx="1347549" cy="944256"/>
                </a:xfrm>
                <a:custGeom>
                  <a:avLst/>
                  <a:gdLst>
                    <a:gd name="T0" fmla="*/ 176 w 1057"/>
                    <a:gd name="T1" fmla="*/ 2365 h 741"/>
                    <a:gd name="T2" fmla="*/ 577 w 1057"/>
                    <a:gd name="T3" fmla="*/ 2180 h 741"/>
                    <a:gd name="T4" fmla="*/ 711 w 1057"/>
                    <a:gd name="T5" fmla="*/ 1851 h 741"/>
                    <a:gd name="T6" fmla="*/ 835 w 1057"/>
                    <a:gd name="T7" fmla="*/ 1498 h 741"/>
                    <a:gd name="T8" fmla="*/ 975 w 1057"/>
                    <a:gd name="T9" fmla="*/ 1209 h 741"/>
                    <a:gd name="T10" fmla="*/ 1035 w 1057"/>
                    <a:gd name="T11" fmla="*/ 998 h 741"/>
                    <a:gd name="T12" fmla="*/ 1285 w 1057"/>
                    <a:gd name="T13" fmla="*/ 764 h 741"/>
                    <a:gd name="T14" fmla="*/ 1451 w 1057"/>
                    <a:gd name="T15" fmla="*/ 690 h 741"/>
                    <a:gd name="T16" fmla="*/ 1563 w 1057"/>
                    <a:gd name="T17" fmla="*/ 558 h 741"/>
                    <a:gd name="T18" fmla="*/ 1955 w 1057"/>
                    <a:gd name="T19" fmla="*/ 537 h 741"/>
                    <a:gd name="T20" fmla="*/ 2404 w 1057"/>
                    <a:gd name="T21" fmla="*/ 462 h 741"/>
                    <a:gd name="T22" fmla="*/ 2708 w 1057"/>
                    <a:gd name="T23" fmla="*/ 516 h 741"/>
                    <a:gd name="T24" fmla="*/ 2987 w 1057"/>
                    <a:gd name="T25" fmla="*/ 428 h 741"/>
                    <a:gd name="T26" fmla="*/ 3346 w 1057"/>
                    <a:gd name="T27" fmla="*/ 313 h 741"/>
                    <a:gd name="T28" fmla="*/ 3849 w 1057"/>
                    <a:gd name="T29" fmla="*/ 0 h 741"/>
                    <a:gd name="T30" fmla="*/ 4016 w 1057"/>
                    <a:gd name="T31" fmla="*/ 86 h 741"/>
                    <a:gd name="T32" fmla="*/ 4300 w 1057"/>
                    <a:gd name="T33" fmla="*/ 345 h 741"/>
                    <a:gd name="T34" fmla="*/ 4542 w 1057"/>
                    <a:gd name="T35" fmla="*/ 736 h 741"/>
                    <a:gd name="T36" fmla="*/ 4910 w 1057"/>
                    <a:gd name="T37" fmla="*/ 1148 h 741"/>
                    <a:gd name="T38" fmla="*/ 5087 w 1057"/>
                    <a:gd name="T39" fmla="*/ 1676 h 741"/>
                    <a:gd name="T40" fmla="*/ 5142 w 1057"/>
                    <a:gd name="T41" fmla="*/ 2017 h 741"/>
                    <a:gd name="T42" fmla="*/ 5209 w 1057"/>
                    <a:gd name="T43" fmla="*/ 2287 h 741"/>
                    <a:gd name="T44" fmla="*/ 5328 w 1057"/>
                    <a:gd name="T45" fmla="*/ 2331 h 741"/>
                    <a:gd name="T46" fmla="*/ 5442 w 1057"/>
                    <a:gd name="T47" fmla="*/ 2444 h 741"/>
                    <a:gd name="T48" fmla="*/ 5635 w 1057"/>
                    <a:gd name="T49" fmla="*/ 2464 h 741"/>
                    <a:gd name="T50" fmla="*/ 5903 w 1057"/>
                    <a:gd name="T51" fmla="*/ 2281 h 741"/>
                    <a:gd name="T52" fmla="*/ 6112 w 1057"/>
                    <a:gd name="T53" fmla="*/ 2212 h 741"/>
                    <a:gd name="T54" fmla="*/ 6224 w 1057"/>
                    <a:gd name="T55" fmla="*/ 2304 h 741"/>
                    <a:gd name="T56" fmla="*/ 6270 w 1057"/>
                    <a:gd name="T57" fmla="*/ 2513 h 741"/>
                    <a:gd name="T58" fmla="*/ 6199 w 1057"/>
                    <a:gd name="T59" fmla="*/ 2789 h 741"/>
                    <a:gd name="T60" fmla="*/ 5977 w 1057"/>
                    <a:gd name="T61" fmla="*/ 2945 h 741"/>
                    <a:gd name="T62" fmla="*/ 5856 w 1057"/>
                    <a:gd name="T63" fmla="*/ 3179 h 741"/>
                    <a:gd name="T64" fmla="*/ 5856 w 1057"/>
                    <a:gd name="T65" fmla="*/ 3012 h 741"/>
                    <a:gd name="T66" fmla="*/ 5890 w 1057"/>
                    <a:gd name="T67" fmla="*/ 2789 h 741"/>
                    <a:gd name="T68" fmla="*/ 5784 w 1057"/>
                    <a:gd name="T69" fmla="*/ 2703 h 741"/>
                    <a:gd name="T70" fmla="*/ 5795 w 1057"/>
                    <a:gd name="T71" fmla="*/ 2998 h 741"/>
                    <a:gd name="T72" fmla="*/ 5777 w 1057"/>
                    <a:gd name="T73" fmla="*/ 3280 h 741"/>
                    <a:gd name="T74" fmla="*/ 5795 w 1057"/>
                    <a:gd name="T75" fmla="*/ 3597 h 741"/>
                    <a:gd name="T76" fmla="*/ 5839 w 1057"/>
                    <a:gd name="T77" fmla="*/ 3829 h 741"/>
                    <a:gd name="T78" fmla="*/ 5351 w 1057"/>
                    <a:gd name="T79" fmla="*/ 3767 h 741"/>
                    <a:gd name="T80" fmla="*/ 4887 w 1057"/>
                    <a:gd name="T81" fmla="*/ 3689 h 741"/>
                    <a:gd name="T82" fmla="*/ 4374 w 1057"/>
                    <a:gd name="T83" fmla="*/ 3860 h 741"/>
                    <a:gd name="T84" fmla="*/ 3924 w 1057"/>
                    <a:gd name="T85" fmla="*/ 4222 h 741"/>
                    <a:gd name="T86" fmla="*/ 3414 w 1057"/>
                    <a:gd name="T87" fmla="*/ 4300 h 741"/>
                    <a:gd name="T88" fmla="*/ 2679 w 1057"/>
                    <a:gd name="T89" fmla="*/ 4350 h 741"/>
                    <a:gd name="T90" fmla="*/ 2085 w 1057"/>
                    <a:gd name="T91" fmla="*/ 4375 h 741"/>
                    <a:gd name="T92" fmla="*/ 2001 w 1057"/>
                    <a:gd name="T93" fmla="*/ 4104 h 741"/>
                    <a:gd name="T94" fmla="*/ 1728 w 1057"/>
                    <a:gd name="T95" fmla="*/ 4049 h 741"/>
                    <a:gd name="T96" fmla="*/ 1713 w 1057"/>
                    <a:gd name="T97" fmla="*/ 3729 h 741"/>
                    <a:gd name="T98" fmla="*/ 1485 w 1057"/>
                    <a:gd name="T99" fmla="*/ 3729 h 741"/>
                    <a:gd name="T100" fmla="*/ 1138 w 1057"/>
                    <a:gd name="T101" fmla="*/ 3636 h 741"/>
                    <a:gd name="T102" fmla="*/ 911 w 1057"/>
                    <a:gd name="T103" fmla="*/ 3338 h 741"/>
                    <a:gd name="T104" fmla="*/ 767 w 1057"/>
                    <a:gd name="T105" fmla="*/ 3163 h 741"/>
                    <a:gd name="T106" fmla="*/ 514 w 1057"/>
                    <a:gd name="T107" fmla="*/ 3004 h 741"/>
                    <a:gd name="T108" fmla="*/ 364 w 1057"/>
                    <a:gd name="T109" fmla="*/ 2656 h 741"/>
                    <a:gd name="T110" fmla="*/ 54 w 1057"/>
                    <a:gd name="T111" fmla="*/ 2464 h 741"/>
                    <a:gd name="T112" fmla="*/ 54 w 1057"/>
                    <a:gd name="T113" fmla="*/ 2409 h 741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1057" h="741">
                      <a:moveTo>
                        <a:pt x="9" y="408"/>
                      </a:moveTo>
                      <a:lnTo>
                        <a:pt x="29" y="400"/>
                      </a:lnTo>
                      <a:lnTo>
                        <a:pt x="68" y="386"/>
                      </a:lnTo>
                      <a:lnTo>
                        <a:pt x="97" y="369"/>
                      </a:lnTo>
                      <a:lnTo>
                        <a:pt x="108" y="334"/>
                      </a:lnTo>
                      <a:lnTo>
                        <a:pt x="120" y="313"/>
                      </a:lnTo>
                      <a:lnTo>
                        <a:pt x="134" y="280"/>
                      </a:lnTo>
                      <a:lnTo>
                        <a:pt x="141" y="254"/>
                      </a:lnTo>
                      <a:lnTo>
                        <a:pt x="163" y="225"/>
                      </a:lnTo>
                      <a:lnTo>
                        <a:pt x="165" y="204"/>
                      </a:lnTo>
                      <a:lnTo>
                        <a:pt x="174" y="183"/>
                      </a:lnTo>
                      <a:lnTo>
                        <a:pt x="174" y="169"/>
                      </a:lnTo>
                      <a:lnTo>
                        <a:pt x="192" y="146"/>
                      </a:lnTo>
                      <a:lnTo>
                        <a:pt x="217" y="130"/>
                      </a:lnTo>
                      <a:lnTo>
                        <a:pt x="231" y="130"/>
                      </a:lnTo>
                      <a:lnTo>
                        <a:pt x="244" y="117"/>
                      </a:lnTo>
                      <a:lnTo>
                        <a:pt x="250" y="101"/>
                      </a:lnTo>
                      <a:lnTo>
                        <a:pt x="264" y="95"/>
                      </a:lnTo>
                      <a:lnTo>
                        <a:pt x="296" y="92"/>
                      </a:lnTo>
                      <a:lnTo>
                        <a:pt x="329" y="92"/>
                      </a:lnTo>
                      <a:lnTo>
                        <a:pt x="376" y="92"/>
                      </a:lnTo>
                      <a:lnTo>
                        <a:pt x="405" y="78"/>
                      </a:lnTo>
                      <a:lnTo>
                        <a:pt x="432" y="72"/>
                      </a:lnTo>
                      <a:lnTo>
                        <a:pt x="456" y="88"/>
                      </a:lnTo>
                      <a:lnTo>
                        <a:pt x="475" y="97"/>
                      </a:lnTo>
                      <a:lnTo>
                        <a:pt x="504" y="72"/>
                      </a:lnTo>
                      <a:lnTo>
                        <a:pt x="533" y="59"/>
                      </a:lnTo>
                      <a:lnTo>
                        <a:pt x="564" y="53"/>
                      </a:lnTo>
                      <a:lnTo>
                        <a:pt x="622" y="2"/>
                      </a:lnTo>
                      <a:lnTo>
                        <a:pt x="649" y="0"/>
                      </a:lnTo>
                      <a:lnTo>
                        <a:pt x="663" y="8"/>
                      </a:lnTo>
                      <a:lnTo>
                        <a:pt x="677" y="14"/>
                      </a:lnTo>
                      <a:lnTo>
                        <a:pt x="706" y="35"/>
                      </a:lnTo>
                      <a:lnTo>
                        <a:pt x="725" y="59"/>
                      </a:lnTo>
                      <a:lnTo>
                        <a:pt x="737" y="88"/>
                      </a:lnTo>
                      <a:lnTo>
                        <a:pt x="766" y="125"/>
                      </a:lnTo>
                      <a:lnTo>
                        <a:pt x="801" y="159"/>
                      </a:lnTo>
                      <a:lnTo>
                        <a:pt x="828" y="194"/>
                      </a:lnTo>
                      <a:lnTo>
                        <a:pt x="849" y="249"/>
                      </a:lnTo>
                      <a:lnTo>
                        <a:pt x="857" y="284"/>
                      </a:lnTo>
                      <a:lnTo>
                        <a:pt x="857" y="318"/>
                      </a:lnTo>
                      <a:lnTo>
                        <a:pt x="867" y="342"/>
                      </a:lnTo>
                      <a:lnTo>
                        <a:pt x="874" y="363"/>
                      </a:lnTo>
                      <a:lnTo>
                        <a:pt x="878" y="388"/>
                      </a:lnTo>
                      <a:lnTo>
                        <a:pt x="880" y="400"/>
                      </a:lnTo>
                      <a:lnTo>
                        <a:pt x="898" y="394"/>
                      </a:lnTo>
                      <a:lnTo>
                        <a:pt x="913" y="408"/>
                      </a:lnTo>
                      <a:lnTo>
                        <a:pt x="917" y="414"/>
                      </a:lnTo>
                      <a:lnTo>
                        <a:pt x="929" y="421"/>
                      </a:lnTo>
                      <a:lnTo>
                        <a:pt x="950" y="417"/>
                      </a:lnTo>
                      <a:lnTo>
                        <a:pt x="967" y="398"/>
                      </a:lnTo>
                      <a:lnTo>
                        <a:pt x="995" y="386"/>
                      </a:lnTo>
                      <a:lnTo>
                        <a:pt x="1012" y="377"/>
                      </a:lnTo>
                      <a:lnTo>
                        <a:pt x="1030" y="375"/>
                      </a:lnTo>
                      <a:lnTo>
                        <a:pt x="1041" y="377"/>
                      </a:lnTo>
                      <a:lnTo>
                        <a:pt x="1049" y="390"/>
                      </a:lnTo>
                      <a:lnTo>
                        <a:pt x="1051" y="402"/>
                      </a:lnTo>
                      <a:lnTo>
                        <a:pt x="1057" y="425"/>
                      </a:lnTo>
                      <a:lnTo>
                        <a:pt x="1057" y="446"/>
                      </a:lnTo>
                      <a:lnTo>
                        <a:pt x="1045" y="472"/>
                      </a:lnTo>
                      <a:lnTo>
                        <a:pt x="1026" y="479"/>
                      </a:lnTo>
                      <a:lnTo>
                        <a:pt x="1008" y="499"/>
                      </a:lnTo>
                      <a:lnTo>
                        <a:pt x="997" y="522"/>
                      </a:lnTo>
                      <a:lnTo>
                        <a:pt x="987" y="538"/>
                      </a:lnTo>
                      <a:lnTo>
                        <a:pt x="977" y="528"/>
                      </a:lnTo>
                      <a:lnTo>
                        <a:pt x="987" y="510"/>
                      </a:lnTo>
                      <a:lnTo>
                        <a:pt x="995" y="483"/>
                      </a:lnTo>
                      <a:lnTo>
                        <a:pt x="993" y="472"/>
                      </a:lnTo>
                      <a:lnTo>
                        <a:pt x="989" y="456"/>
                      </a:lnTo>
                      <a:lnTo>
                        <a:pt x="975" y="458"/>
                      </a:lnTo>
                      <a:lnTo>
                        <a:pt x="975" y="479"/>
                      </a:lnTo>
                      <a:lnTo>
                        <a:pt x="977" y="507"/>
                      </a:lnTo>
                      <a:lnTo>
                        <a:pt x="971" y="534"/>
                      </a:lnTo>
                      <a:lnTo>
                        <a:pt x="973" y="555"/>
                      </a:lnTo>
                      <a:lnTo>
                        <a:pt x="969" y="573"/>
                      </a:lnTo>
                      <a:lnTo>
                        <a:pt x="977" y="609"/>
                      </a:lnTo>
                      <a:lnTo>
                        <a:pt x="977" y="625"/>
                      </a:lnTo>
                      <a:lnTo>
                        <a:pt x="985" y="648"/>
                      </a:lnTo>
                      <a:lnTo>
                        <a:pt x="948" y="658"/>
                      </a:lnTo>
                      <a:lnTo>
                        <a:pt x="902" y="638"/>
                      </a:lnTo>
                      <a:lnTo>
                        <a:pt x="839" y="635"/>
                      </a:lnTo>
                      <a:lnTo>
                        <a:pt x="824" y="625"/>
                      </a:lnTo>
                      <a:lnTo>
                        <a:pt x="785" y="631"/>
                      </a:lnTo>
                      <a:lnTo>
                        <a:pt x="737" y="654"/>
                      </a:lnTo>
                      <a:lnTo>
                        <a:pt x="694" y="683"/>
                      </a:lnTo>
                      <a:lnTo>
                        <a:pt x="661" y="714"/>
                      </a:lnTo>
                      <a:lnTo>
                        <a:pt x="628" y="728"/>
                      </a:lnTo>
                      <a:lnTo>
                        <a:pt x="576" y="728"/>
                      </a:lnTo>
                      <a:lnTo>
                        <a:pt x="537" y="726"/>
                      </a:lnTo>
                      <a:lnTo>
                        <a:pt x="452" y="737"/>
                      </a:lnTo>
                      <a:lnTo>
                        <a:pt x="378" y="737"/>
                      </a:lnTo>
                      <a:lnTo>
                        <a:pt x="351" y="741"/>
                      </a:lnTo>
                      <a:lnTo>
                        <a:pt x="328" y="726"/>
                      </a:lnTo>
                      <a:lnTo>
                        <a:pt x="337" y="695"/>
                      </a:lnTo>
                      <a:lnTo>
                        <a:pt x="312" y="689"/>
                      </a:lnTo>
                      <a:lnTo>
                        <a:pt x="291" y="685"/>
                      </a:lnTo>
                      <a:lnTo>
                        <a:pt x="271" y="654"/>
                      </a:lnTo>
                      <a:lnTo>
                        <a:pt x="289" y="631"/>
                      </a:lnTo>
                      <a:lnTo>
                        <a:pt x="273" y="609"/>
                      </a:lnTo>
                      <a:lnTo>
                        <a:pt x="250" y="631"/>
                      </a:lnTo>
                      <a:lnTo>
                        <a:pt x="225" y="625"/>
                      </a:lnTo>
                      <a:lnTo>
                        <a:pt x="192" y="615"/>
                      </a:lnTo>
                      <a:lnTo>
                        <a:pt x="159" y="596"/>
                      </a:lnTo>
                      <a:lnTo>
                        <a:pt x="153" y="565"/>
                      </a:lnTo>
                      <a:lnTo>
                        <a:pt x="145" y="545"/>
                      </a:lnTo>
                      <a:lnTo>
                        <a:pt x="130" y="536"/>
                      </a:lnTo>
                      <a:lnTo>
                        <a:pt x="108" y="534"/>
                      </a:lnTo>
                      <a:lnTo>
                        <a:pt x="87" y="509"/>
                      </a:lnTo>
                      <a:lnTo>
                        <a:pt x="75" y="472"/>
                      </a:lnTo>
                      <a:lnTo>
                        <a:pt x="62" y="450"/>
                      </a:lnTo>
                      <a:lnTo>
                        <a:pt x="39" y="427"/>
                      </a:lnTo>
                      <a:lnTo>
                        <a:pt x="9" y="417"/>
                      </a:lnTo>
                      <a:lnTo>
                        <a:pt x="0" y="412"/>
                      </a:lnTo>
                      <a:lnTo>
                        <a:pt x="9" y="408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37" name="Freeform 4"/>
                <p:cNvSpPr>
                  <a:spLocks/>
                </p:cNvSpPr>
                <p:nvPr/>
              </p:nvSpPr>
              <p:spPr bwMode="gray">
                <a:xfrm>
                  <a:off x="4008121" y="2901334"/>
                  <a:ext cx="405438" cy="290212"/>
                </a:xfrm>
                <a:custGeom>
                  <a:avLst/>
                  <a:gdLst>
                    <a:gd name="T0" fmla="*/ 1752 w 320"/>
                    <a:gd name="T1" fmla="*/ 42 h 227"/>
                    <a:gd name="T2" fmla="*/ 1584 w 320"/>
                    <a:gd name="T3" fmla="*/ 0 h 227"/>
                    <a:gd name="T4" fmla="*/ 1497 w 320"/>
                    <a:gd name="T5" fmla="*/ 92 h 227"/>
                    <a:gd name="T6" fmla="*/ 1456 w 320"/>
                    <a:gd name="T7" fmla="*/ 146 h 227"/>
                    <a:gd name="T8" fmla="*/ 1284 w 320"/>
                    <a:gd name="T9" fmla="*/ 122 h 227"/>
                    <a:gd name="T10" fmla="*/ 1186 w 320"/>
                    <a:gd name="T11" fmla="*/ 219 h 227"/>
                    <a:gd name="T12" fmla="*/ 1081 w 320"/>
                    <a:gd name="T13" fmla="*/ 205 h 227"/>
                    <a:gd name="T14" fmla="*/ 926 w 320"/>
                    <a:gd name="T15" fmla="*/ 189 h 227"/>
                    <a:gd name="T16" fmla="*/ 783 w 320"/>
                    <a:gd name="T17" fmla="*/ 271 h 227"/>
                    <a:gd name="T18" fmla="*/ 678 w 320"/>
                    <a:gd name="T19" fmla="*/ 389 h 227"/>
                    <a:gd name="T20" fmla="*/ 570 w 320"/>
                    <a:gd name="T21" fmla="*/ 406 h 227"/>
                    <a:gd name="T22" fmla="*/ 331 w 320"/>
                    <a:gd name="T23" fmla="*/ 363 h 227"/>
                    <a:gd name="T24" fmla="*/ 86 w 320"/>
                    <a:gd name="T25" fmla="*/ 423 h 227"/>
                    <a:gd name="T26" fmla="*/ 0 w 320"/>
                    <a:gd name="T27" fmla="*/ 564 h 227"/>
                    <a:gd name="T28" fmla="*/ 29 w 320"/>
                    <a:gd name="T29" fmla="*/ 639 h 227"/>
                    <a:gd name="T30" fmla="*/ 96 w 320"/>
                    <a:gd name="T31" fmla="*/ 623 h 227"/>
                    <a:gd name="T32" fmla="*/ 51 w 320"/>
                    <a:gd name="T33" fmla="*/ 799 h 227"/>
                    <a:gd name="T34" fmla="*/ 96 w 320"/>
                    <a:gd name="T35" fmla="*/ 874 h 227"/>
                    <a:gd name="T36" fmla="*/ 121 w 320"/>
                    <a:gd name="T37" fmla="*/ 1001 h 227"/>
                    <a:gd name="T38" fmla="*/ 211 w 320"/>
                    <a:gd name="T39" fmla="*/ 1050 h 227"/>
                    <a:gd name="T40" fmla="*/ 278 w 320"/>
                    <a:gd name="T41" fmla="*/ 1135 h 227"/>
                    <a:gd name="T42" fmla="*/ 295 w 320"/>
                    <a:gd name="T43" fmla="*/ 1238 h 227"/>
                    <a:gd name="T44" fmla="*/ 181 w 320"/>
                    <a:gd name="T45" fmla="*/ 1287 h 227"/>
                    <a:gd name="T46" fmla="*/ 121 w 320"/>
                    <a:gd name="T47" fmla="*/ 1265 h 227"/>
                    <a:gd name="T48" fmla="*/ 61 w 320"/>
                    <a:gd name="T49" fmla="*/ 1354 h 227"/>
                    <a:gd name="T50" fmla="*/ 234 w 320"/>
                    <a:gd name="T51" fmla="*/ 1334 h 227"/>
                    <a:gd name="T52" fmla="*/ 499 w 320"/>
                    <a:gd name="T53" fmla="*/ 1270 h 227"/>
                    <a:gd name="T54" fmla="*/ 766 w 320"/>
                    <a:gd name="T55" fmla="*/ 1301 h 227"/>
                    <a:gd name="T56" fmla="*/ 956 w 320"/>
                    <a:gd name="T57" fmla="*/ 1301 h 227"/>
                    <a:gd name="T58" fmla="*/ 1030 w 320"/>
                    <a:gd name="T59" fmla="*/ 1174 h 227"/>
                    <a:gd name="T60" fmla="*/ 993 w 320"/>
                    <a:gd name="T61" fmla="*/ 947 h 227"/>
                    <a:gd name="T62" fmla="*/ 1179 w 320"/>
                    <a:gd name="T63" fmla="*/ 557 h 227"/>
                    <a:gd name="T64" fmla="*/ 1497 w 320"/>
                    <a:gd name="T65" fmla="*/ 407 h 227"/>
                    <a:gd name="T66" fmla="*/ 1652 w 320"/>
                    <a:gd name="T67" fmla="*/ 164 h 22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320" h="227">
                      <a:moveTo>
                        <a:pt x="320" y="19"/>
                      </a:moveTo>
                      <a:lnTo>
                        <a:pt x="314" y="7"/>
                      </a:lnTo>
                      <a:lnTo>
                        <a:pt x="300" y="2"/>
                      </a:lnTo>
                      <a:lnTo>
                        <a:pt x="285" y="0"/>
                      </a:lnTo>
                      <a:lnTo>
                        <a:pt x="269" y="7"/>
                      </a:lnTo>
                      <a:lnTo>
                        <a:pt x="269" y="15"/>
                      </a:lnTo>
                      <a:lnTo>
                        <a:pt x="265" y="23"/>
                      </a:lnTo>
                      <a:lnTo>
                        <a:pt x="261" y="23"/>
                      </a:lnTo>
                      <a:lnTo>
                        <a:pt x="250" y="21"/>
                      </a:lnTo>
                      <a:lnTo>
                        <a:pt x="230" y="19"/>
                      </a:lnTo>
                      <a:lnTo>
                        <a:pt x="225" y="21"/>
                      </a:lnTo>
                      <a:lnTo>
                        <a:pt x="213" y="36"/>
                      </a:lnTo>
                      <a:lnTo>
                        <a:pt x="203" y="35"/>
                      </a:lnTo>
                      <a:lnTo>
                        <a:pt x="194" y="33"/>
                      </a:lnTo>
                      <a:lnTo>
                        <a:pt x="176" y="29"/>
                      </a:lnTo>
                      <a:lnTo>
                        <a:pt x="166" y="31"/>
                      </a:lnTo>
                      <a:lnTo>
                        <a:pt x="151" y="36"/>
                      </a:lnTo>
                      <a:lnTo>
                        <a:pt x="141" y="44"/>
                      </a:lnTo>
                      <a:lnTo>
                        <a:pt x="133" y="56"/>
                      </a:lnTo>
                      <a:lnTo>
                        <a:pt x="122" y="64"/>
                      </a:lnTo>
                      <a:lnTo>
                        <a:pt x="116" y="66"/>
                      </a:lnTo>
                      <a:lnTo>
                        <a:pt x="102" y="66"/>
                      </a:lnTo>
                      <a:lnTo>
                        <a:pt x="91" y="64"/>
                      </a:lnTo>
                      <a:lnTo>
                        <a:pt x="60" y="60"/>
                      </a:lnTo>
                      <a:lnTo>
                        <a:pt x="27" y="60"/>
                      </a:lnTo>
                      <a:lnTo>
                        <a:pt x="15" y="69"/>
                      </a:lnTo>
                      <a:lnTo>
                        <a:pt x="5" y="77"/>
                      </a:lnTo>
                      <a:lnTo>
                        <a:pt x="0" y="93"/>
                      </a:lnTo>
                      <a:lnTo>
                        <a:pt x="0" y="102"/>
                      </a:lnTo>
                      <a:lnTo>
                        <a:pt x="5" y="104"/>
                      </a:lnTo>
                      <a:lnTo>
                        <a:pt x="13" y="102"/>
                      </a:lnTo>
                      <a:lnTo>
                        <a:pt x="17" y="102"/>
                      </a:lnTo>
                      <a:lnTo>
                        <a:pt x="11" y="116"/>
                      </a:lnTo>
                      <a:lnTo>
                        <a:pt x="9" y="131"/>
                      </a:lnTo>
                      <a:lnTo>
                        <a:pt x="13" y="143"/>
                      </a:lnTo>
                      <a:lnTo>
                        <a:pt x="17" y="143"/>
                      </a:lnTo>
                      <a:lnTo>
                        <a:pt x="17" y="161"/>
                      </a:lnTo>
                      <a:lnTo>
                        <a:pt x="21" y="164"/>
                      </a:lnTo>
                      <a:lnTo>
                        <a:pt x="31" y="170"/>
                      </a:lnTo>
                      <a:lnTo>
                        <a:pt x="38" y="172"/>
                      </a:lnTo>
                      <a:lnTo>
                        <a:pt x="42" y="182"/>
                      </a:lnTo>
                      <a:lnTo>
                        <a:pt x="50" y="186"/>
                      </a:lnTo>
                      <a:lnTo>
                        <a:pt x="54" y="195"/>
                      </a:lnTo>
                      <a:lnTo>
                        <a:pt x="52" y="203"/>
                      </a:lnTo>
                      <a:lnTo>
                        <a:pt x="44" y="209"/>
                      </a:lnTo>
                      <a:lnTo>
                        <a:pt x="33" y="211"/>
                      </a:lnTo>
                      <a:lnTo>
                        <a:pt x="23" y="209"/>
                      </a:lnTo>
                      <a:lnTo>
                        <a:pt x="21" y="207"/>
                      </a:lnTo>
                      <a:lnTo>
                        <a:pt x="11" y="217"/>
                      </a:lnTo>
                      <a:lnTo>
                        <a:pt x="11" y="221"/>
                      </a:lnTo>
                      <a:lnTo>
                        <a:pt x="35" y="227"/>
                      </a:lnTo>
                      <a:lnTo>
                        <a:pt x="42" y="219"/>
                      </a:lnTo>
                      <a:lnTo>
                        <a:pt x="69" y="219"/>
                      </a:lnTo>
                      <a:lnTo>
                        <a:pt x="89" y="209"/>
                      </a:lnTo>
                      <a:lnTo>
                        <a:pt x="101" y="192"/>
                      </a:lnTo>
                      <a:lnTo>
                        <a:pt x="137" y="213"/>
                      </a:lnTo>
                      <a:lnTo>
                        <a:pt x="147" y="205"/>
                      </a:lnTo>
                      <a:lnTo>
                        <a:pt x="172" y="213"/>
                      </a:lnTo>
                      <a:lnTo>
                        <a:pt x="190" y="209"/>
                      </a:lnTo>
                      <a:lnTo>
                        <a:pt x="184" y="192"/>
                      </a:lnTo>
                      <a:lnTo>
                        <a:pt x="192" y="170"/>
                      </a:lnTo>
                      <a:lnTo>
                        <a:pt x="178" y="155"/>
                      </a:lnTo>
                      <a:lnTo>
                        <a:pt x="203" y="143"/>
                      </a:lnTo>
                      <a:lnTo>
                        <a:pt x="211" y="91"/>
                      </a:lnTo>
                      <a:lnTo>
                        <a:pt x="256" y="81"/>
                      </a:lnTo>
                      <a:lnTo>
                        <a:pt x="269" y="67"/>
                      </a:lnTo>
                      <a:lnTo>
                        <a:pt x="293" y="56"/>
                      </a:lnTo>
                      <a:lnTo>
                        <a:pt x="296" y="27"/>
                      </a:lnTo>
                      <a:lnTo>
                        <a:pt x="320" y="19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38" name="Freeform 5"/>
                <p:cNvSpPr>
                  <a:spLocks/>
                </p:cNvSpPr>
                <p:nvPr/>
              </p:nvSpPr>
              <p:spPr bwMode="gray">
                <a:xfrm>
                  <a:off x="4367681" y="2536435"/>
                  <a:ext cx="888763" cy="576156"/>
                </a:xfrm>
                <a:custGeom>
                  <a:avLst/>
                  <a:gdLst>
                    <a:gd name="T0" fmla="*/ 3784 w 698"/>
                    <a:gd name="T1" fmla="*/ 150 h 451"/>
                    <a:gd name="T2" fmla="*/ 4033 w 698"/>
                    <a:gd name="T3" fmla="*/ 326 h 451"/>
                    <a:gd name="T4" fmla="*/ 4059 w 698"/>
                    <a:gd name="T5" fmla="*/ 539 h 451"/>
                    <a:gd name="T6" fmla="*/ 3901 w 698"/>
                    <a:gd name="T7" fmla="*/ 618 h 451"/>
                    <a:gd name="T8" fmla="*/ 3642 w 698"/>
                    <a:gd name="T9" fmla="*/ 853 h 451"/>
                    <a:gd name="T10" fmla="*/ 3596 w 698"/>
                    <a:gd name="T11" fmla="*/ 1070 h 451"/>
                    <a:gd name="T12" fmla="*/ 3453 w 698"/>
                    <a:gd name="T13" fmla="*/ 1372 h 451"/>
                    <a:gd name="T14" fmla="*/ 3328 w 698"/>
                    <a:gd name="T15" fmla="*/ 1722 h 451"/>
                    <a:gd name="T16" fmla="*/ 3191 w 698"/>
                    <a:gd name="T17" fmla="*/ 2062 h 451"/>
                    <a:gd name="T18" fmla="*/ 2793 w 698"/>
                    <a:gd name="T19" fmla="*/ 2252 h 451"/>
                    <a:gd name="T20" fmla="*/ 2624 w 698"/>
                    <a:gd name="T21" fmla="*/ 2330 h 451"/>
                    <a:gd name="T22" fmla="*/ 2431 w 698"/>
                    <a:gd name="T23" fmla="*/ 2304 h 451"/>
                    <a:gd name="T24" fmla="*/ 2108 w 698"/>
                    <a:gd name="T25" fmla="*/ 2444 h 451"/>
                    <a:gd name="T26" fmla="*/ 1877 w 698"/>
                    <a:gd name="T27" fmla="*/ 2529 h 451"/>
                    <a:gd name="T28" fmla="*/ 1569 w 698"/>
                    <a:gd name="T29" fmla="*/ 2668 h 451"/>
                    <a:gd name="T30" fmla="*/ 1214 w 698"/>
                    <a:gd name="T31" fmla="*/ 2732 h 451"/>
                    <a:gd name="T32" fmla="*/ 896 w 698"/>
                    <a:gd name="T33" fmla="*/ 2591 h 451"/>
                    <a:gd name="T34" fmla="*/ 601 w 698"/>
                    <a:gd name="T35" fmla="*/ 2334 h 451"/>
                    <a:gd name="T36" fmla="*/ 338 w 698"/>
                    <a:gd name="T37" fmla="*/ 2098 h 451"/>
                    <a:gd name="T38" fmla="*/ 209 w 698"/>
                    <a:gd name="T39" fmla="*/ 1846 h 451"/>
                    <a:gd name="T40" fmla="*/ 87 w 698"/>
                    <a:gd name="T41" fmla="*/ 1749 h 451"/>
                    <a:gd name="T42" fmla="*/ 24 w 698"/>
                    <a:gd name="T43" fmla="*/ 1698 h 451"/>
                    <a:gd name="T44" fmla="*/ 249 w 698"/>
                    <a:gd name="T45" fmla="*/ 1569 h 451"/>
                    <a:gd name="T46" fmla="*/ 229 w 698"/>
                    <a:gd name="T47" fmla="*/ 1342 h 451"/>
                    <a:gd name="T48" fmla="*/ 315 w 698"/>
                    <a:gd name="T49" fmla="*/ 1131 h 451"/>
                    <a:gd name="T50" fmla="*/ 280 w 698"/>
                    <a:gd name="T51" fmla="*/ 924 h 451"/>
                    <a:gd name="T52" fmla="*/ 579 w 698"/>
                    <a:gd name="T53" fmla="*/ 924 h 451"/>
                    <a:gd name="T54" fmla="*/ 625 w 698"/>
                    <a:gd name="T55" fmla="*/ 687 h 451"/>
                    <a:gd name="T56" fmla="*/ 691 w 698"/>
                    <a:gd name="T57" fmla="*/ 637 h 451"/>
                    <a:gd name="T58" fmla="*/ 985 w 698"/>
                    <a:gd name="T59" fmla="*/ 826 h 451"/>
                    <a:gd name="T60" fmla="*/ 1176 w 698"/>
                    <a:gd name="T61" fmla="*/ 863 h 451"/>
                    <a:gd name="T62" fmla="*/ 1362 w 698"/>
                    <a:gd name="T63" fmla="*/ 838 h 451"/>
                    <a:gd name="T64" fmla="*/ 1492 w 698"/>
                    <a:gd name="T65" fmla="*/ 838 h 451"/>
                    <a:gd name="T66" fmla="*/ 1553 w 698"/>
                    <a:gd name="T67" fmla="*/ 740 h 451"/>
                    <a:gd name="T68" fmla="*/ 1794 w 698"/>
                    <a:gd name="T69" fmla="*/ 559 h 451"/>
                    <a:gd name="T70" fmla="*/ 2133 w 698"/>
                    <a:gd name="T71" fmla="*/ 376 h 451"/>
                    <a:gd name="T72" fmla="*/ 2464 w 698"/>
                    <a:gd name="T73" fmla="*/ 326 h 451"/>
                    <a:gd name="T74" fmla="*/ 2624 w 698"/>
                    <a:gd name="T75" fmla="*/ 150 h 451"/>
                    <a:gd name="T76" fmla="*/ 2991 w 698"/>
                    <a:gd name="T77" fmla="*/ 29 h 451"/>
                    <a:gd name="T78" fmla="*/ 3279 w 698"/>
                    <a:gd name="T79" fmla="*/ 29 h 451"/>
                    <a:gd name="T80" fmla="*/ 3611 w 698"/>
                    <a:gd name="T81" fmla="*/ 85 h 45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698" h="451">
                      <a:moveTo>
                        <a:pt x="616" y="13"/>
                      </a:moveTo>
                      <a:lnTo>
                        <a:pt x="646" y="25"/>
                      </a:lnTo>
                      <a:lnTo>
                        <a:pt x="671" y="40"/>
                      </a:lnTo>
                      <a:lnTo>
                        <a:pt x="688" y="54"/>
                      </a:lnTo>
                      <a:lnTo>
                        <a:pt x="698" y="73"/>
                      </a:lnTo>
                      <a:lnTo>
                        <a:pt x="692" y="89"/>
                      </a:lnTo>
                      <a:lnTo>
                        <a:pt x="679" y="102"/>
                      </a:lnTo>
                      <a:lnTo>
                        <a:pt x="665" y="102"/>
                      </a:lnTo>
                      <a:lnTo>
                        <a:pt x="640" y="118"/>
                      </a:lnTo>
                      <a:lnTo>
                        <a:pt x="622" y="141"/>
                      </a:lnTo>
                      <a:lnTo>
                        <a:pt x="622" y="155"/>
                      </a:lnTo>
                      <a:lnTo>
                        <a:pt x="613" y="176"/>
                      </a:lnTo>
                      <a:lnTo>
                        <a:pt x="611" y="197"/>
                      </a:lnTo>
                      <a:lnTo>
                        <a:pt x="589" y="226"/>
                      </a:lnTo>
                      <a:lnTo>
                        <a:pt x="582" y="252"/>
                      </a:lnTo>
                      <a:lnTo>
                        <a:pt x="568" y="285"/>
                      </a:lnTo>
                      <a:lnTo>
                        <a:pt x="556" y="306"/>
                      </a:lnTo>
                      <a:lnTo>
                        <a:pt x="545" y="341"/>
                      </a:lnTo>
                      <a:lnTo>
                        <a:pt x="516" y="358"/>
                      </a:lnTo>
                      <a:lnTo>
                        <a:pt x="477" y="372"/>
                      </a:lnTo>
                      <a:lnTo>
                        <a:pt x="457" y="380"/>
                      </a:lnTo>
                      <a:lnTo>
                        <a:pt x="448" y="384"/>
                      </a:lnTo>
                      <a:lnTo>
                        <a:pt x="438" y="370"/>
                      </a:lnTo>
                      <a:lnTo>
                        <a:pt x="415" y="380"/>
                      </a:lnTo>
                      <a:lnTo>
                        <a:pt x="390" y="382"/>
                      </a:lnTo>
                      <a:lnTo>
                        <a:pt x="360" y="403"/>
                      </a:lnTo>
                      <a:lnTo>
                        <a:pt x="331" y="407"/>
                      </a:lnTo>
                      <a:lnTo>
                        <a:pt x="320" y="418"/>
                      </a:lnTo>
                      <a:lnTo>
                        <a:pt x="293" y="422"/>
                      </a:lnTo>
                      <a:lnTo>
                        <a:pt x="267" y="440"/>
                      </a:lnTo>
                      <a:lnTo>
                        <a:pt x="240" y="448"/>
                      </a:lnTo>
                      <a:lnTo>
                        <a:pt x="207" y="451"/>
                      </a:lnTo>
                      <a:lnTo>
                        <a:pt x="176" y="434"/>
                      </a:lnTo>
                      <a:lnTo>
                        <a:pt x="153" y="428"/>
                      </a:lnTo>
                      <a:lnTo>
                        <a:pt x="132" y="397"/>
                      </a:lnTo>
                      <a:lnTo>
                        <a:pt x="103" y="386"/>
                      </a:lnTo>
                      <a:lnTo>
                        <a:pt x="81" y="356"/>
                      </a:lnTo>
                      <a:lnTo>
                        <a:pt x="58" y="347"/>
                      </a:lnTo>
                      <a:lnTo>
                        <a:pt x="40" y="320"/>
                      </a:lnTo>
                      <a:lnTo>
                        <a:pt x="35" y="306"/>
                      </a:lnTo>
                      <a:lnTo>
                        <a:pt x="29" y="294"/>
                      </a:lnTo>
                      <a:lnTo>
                        <a:pt x="15" y="289"/>
                      </a:lnTo>
                      <a:lnTo>
                        <a:pt x="0" y="287"/>
                      </a:lnTo>
                      <a:lnTo>
                        <a:pt x="4" y="281"/>
                      </a:lnTo>
                      <a:lnTo>
                        <a:pt x="19" y="265"/>
                      </a:lnTo>
                      <a:lnTo>
                        <a:pt x="42" y="259"/>
                      </a:lnTo>
                      <a:lnTo>
                        <a:pt x="39" y="238"/>
                      </a:lnTo>
                      <a:lnTo>
                        <a:pt x="39" y="221"/>
                      </a:lnTo>
                      <a:lnTo>
                        <a:pt x="42" y="211"/>
                      </a:lnTo>
                      <a:lnTo>
                        <a:pt x="54" y="186"/>
                      </a:lnTo>
                      <a:lnTo>
                        <a:pt x="42" y="168"/>
                      </a:lnTo>
                      <a:lnTo>
                        <a:pt x="48" y="153"/>
                      </a:lnTo>
                      <a:lnTo>
                        <a:pt x="70" y="153"/>
                      </a:lnTo>
                      <a:lnTo>
                        <a:pt x="99" y="153"/>
                      </a:lnTo>
                      <a:lnTo>
                        <a:pt x="106" y="135"/>
                      </a:lnTo>
                      <a:lnTo>
                        <a:pt x="106" y="114"/>
                      </a:lnTo>
                      <a:lnTo>
                        <a:pt x="106" y="98"/>
                      </a:lnTo>
                      <a:lnTo>
                        <a:pt x="118" y="104"/>
                      </a:lnTo>
                      <a:lnTo>
                        <a:pt x="132" y="112"/>
                      </a:lnTo>
                      <a:lnTo>
                        <a:pt x="168" y="137"/>
                      </a:lnTo>
                      <a:lnTo>
                        <a:pt x="180" y="145"/>
                      </a:lnTo>
                      <a:lnTo>
                        <a:pt x="200" y="143"/>
                      </a:lnTo>
                      <a:lnTo>
                        <a:pt x="219" y="141"/>
                      </a:lnTo>
                      <a:lnTo>
                        <a:pt x="232" y="139"/>
                      </a:lnTo>
                      <a:lnTo>
                        <a:pt x="244" y="141"/>
                      </a:lnTo>
                      <a:lnTo>
                        <a:pt x="254" y="139"/>
                      </a:lnTo>
                      <a:lnTo>
                        <a:pt x="262" y="126"/>
                      </a:lnTo>
                      <a:lnTo>
                        <a:pt x="265" y="122"/>
                      </a:lnTo>
                      <a:lnTo>
                        <a:pt x="279" y="100"/>
                      </a:lnTo>
                      <a:lnTo>
                        <a:pt x="306" y="93"/>
                      </a:lnTo>
                      <a:lnTo>
                        <a:pt x="335" y="81"/>
                      </a:lnTo>
                      <a:lnTo>
                        <a:pt x="364" y="62"/>
                      </a:lnTo>
                      <a:lnTo>
                        <a:pt x="397" y="69"/>
                      </a:lnTo>
                      <a:lnTo>
                        <a:pt x="421" y="54"/>
                      </a:lnTo>
                      <a:lnTo>
                        <a:pt x="440" y="48"/>
                      </a:lnTo>
                      <a:lnTo>
                        <a:pt x="448" y="25"/>
                      </a:lnTo>
                      <a:lnTo>
                        <a:pt x="477" y="5"/>
                      </a:lnTo>
                      <a:lnTo>
                        <a:pt x="510" y="5"/>
                      </a:lnTo>
                      <a:lnTo>
                        <a:pt x="531" y="0"/>
                      </a:lnTo>
                      <a:lnTo>
                        <a:pt x="560" y="5"/>
                      </a:lnTo>
                      <a:lnTo>
                        <a:pt x="593" y="23"/>
                      </a:lnTo>
                      <a:lnTo>
                        <a:pt x="616" y="13"/>
                      </a:lnTo>
                      <a:close/>
                    </a:path>
                  </a:pathLst>
                </a:custGeom>
                <a:solidFill>
                  <a:srgbClr val="F5E209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39" name="Freeform 7"/>
                <p:cNvSpPr>
                  <a:spLocks/>
                </p:cNvSpPr>
                <p:nvPr/>
              </p:nvSpPr>
              <p:spPr bwMode="gray">
                <a:xfrm>
                  <a:off x="4741111" y="3008030"/>
                  <a:ext cx="632697" cy="840761"/>
                </a:xfrm>
                <a:custGeom>
                  <a:avLst/>
                  <a:gdLst>
                    <a:gd name="T0" fmla="*/ 979 w 496"/>
                    <a:gd name="T1" fmla="*/ 115 h 659"/>
                    <a:gd name="T2" fmla="*/ 1296 w 496"/>
                    <a:gd name="T3" fmla="*/ 309 h 659"/>
                    <a:gd name="T4" fmla="*/ 1445 w 496"/>
                    <a:gd name="T5" fmla="*/ 662 h 659"/>
                    <a:gd name="T6" fmla="*/ 1702 w 496"/>
                    <a:gd name="T7" fmla="*/ 824 h 659"/>
                    <a:gd name="T8" fmla="*/ 1836 w 496"/>
                    <a:gd name="T9" fmla="*/ 1001 h 659"/>
                    <a:gd name="T10" fmla="*/ 2071 w 496"/>
                    <a:gd name="T11" fmla="*/ 1299 h 659"/>
                    <a:gd name="T12" fmla="*/ 2414 w 496"/>
                    <a:gd name="T13" fmla="*/ 1395 h 659"/>
                    <a:gd name="T14" fmla="*/ 2647 w 496"/>
                    <a:gd name="T15" fmla="*/ 1395 h 659"/>
                    <a:gd name="T16" fmla="*/ 2660 w 496"/>
                    <a:gd name="T17" fmla="*/ 1714 h 659"/>
                    <a:gd name="T18" fmla="*/ 2574 w 496"/>
                    <a:gd name="T19" fmla="*/ 1857 h 659"/>
                    <a:gd name="T20" fmla="*/ 2631 w 496"/>
                    <a:gd name="T21" fmla="*/ 2375 h 659"/>
                    <a:gd name="T22" fmla="*/ 2960 w 496"/>
                    <a:gd name="T23" fmla="*/ 2726 h 659"/>
                    <a:gd name="T24" fmla="*/ 2714 w 496"/>
                    <a:gd name="T25" fmla="*/ 3208 h 659"/>
                    <a:gd name="T26" fmla="*/ 2602 w 496"/>
                    <a:gd name="T27" fmla="*/ 3388 h 659"/>
                    <a:gd name="T28" fmla="*/ 2322 w 496"/>
                    <a:gd name="T29" fmla="*/ 3411 h 659"/>
                    <a:gd name="T30" fmla="*/ 2012 w 496"/>
                    <a:gd name="T31" fmla="*/ 3450 h 659"/>
                    <a:gd name="T32" fmla="*/ 1871 w 496"/>
                    <a:gd name="T33" fmla="*/ 3580 h 659"/>
                    <a:gd name="T34" fmla="*/ 1594 w 496"/>
                    <a:gd name="T35" fmla="*/ 3697 h 659"/>
                    <a:gd name="T36" fmla="*/ 1503 w 496"/>
                    <a:gd name="T37" fmla="*/ 3934 h 659"/>
                    <a:gd name="T38" fmla="*/ 1352 w 496"/>
                    <a:gd name="T39" fmla="*/ 3614 h 659"/>
                    <a:gd name="T40" fmla="*/ 1131 w 496"/>
                    <a:gd name="T41" fmla="*/ 3431 h 659"/>
                    <a:gd name="T42" fmla="*/ 960 w 496"/>
                    <a:gd name="T43" fmla="*/ 3245 h 659"/>
                    <a:gd name="T44" fmla="*/ 986 w 496"/>
                    <a:gd name="T45" fmla="*/ 3156 h 659"/>
                    <a:gd name="T46" fmla="*/ 1156 w 496"/>
                    <a:gd name="T47" fmla="*/ 3156 h 659"/>
                    <a:gd name="T48" fmla="*/ 1163 w 496"/>
                    <a:gd name="T49" fmla="*/ 3048 h 659"/>
                    <a:gd name="T50" fmla="*/ 946 w 496"/>
                    <a:gd name="T51" fmla="*/ 2963 h 659"/>
                    <a:gd name="T52" fmla="*/ 803 w 496"/>
                    <a:gd name="T53" fmla="*/ 2885 h 659"/>
                    <a:gd name="T54" fmla="*/ 554 w 496"/>
                    <a:gd name="T55" fmla="*/ 2675 h 659"/>
                    <a:gd name="T56" fmla="*/ 461 w 496"/>
                    <a:gd name="T57" fmla="*/ 2497 h 659"/>
                    <a:gd name="T58" fmla="*/ 611 w 496"/>
                    <a:gd name="T59" fmla="*/ 2419 h 659"/>
                    <a:gd name="T60" fmla="*/ 495 w 496"/>
                    <a:gd name="T61" fmla="*/ 2111 h 659"/>
                    <a:gd name="T62" fmla="*/ 666 w 496"/>
                    <a:gd name="T63" fmla="*/ 2065 h 659"/>
                    <a:gd name="T64" fmla="*/ 511 w 496"/>
                    <a:gd name="T65" fmla="*/ 1834 h 659"/>
                    <a:gd name="T66" fmla="*/ 359 w 496"/>
                    <a:gd name="T67" fmla="*/ 1706 h 659"/>
                    <a:gd name="T68" fmla="*/ 342 w 496"/>
                    <a:gd name="T69" fmla="*/ 1245 h 659"/>
                    <a:gd name="T70" fmla="*/ 597 w 496"/>
                    <a:gd name="T71" fmla="*/ 1013 h 659"/>
                    <a:gd name="T72" fmla="*/ 210 w 496"/>
                    <a:gd name="T73" fmla="*/ 640 h 659"/>
                    <a:gd name="T74" fmla="*/ 111 w 496"/>
                    <a:gd name="T75" fmla="*/ 441 h 659"/>
                    <a:gd name="T76" fmla="*/ 159 w 496"/>
                    <a:gd name="T77" fmla="*/ 283 h 659"/>
                    <a:gd name="T78" fmla="*/ 401 w 496"/>
                    <a:gd name="T79" fmla="*/ 197 h 659"/>
                    <a:gd name="T80" fmla="*/ 730 w 496"/>
                    <a:gd name="T81" fmla="*/ 60 h 659"/>
                    <a:gd name="T82" fmla="*/ 923 w 496"/>
                    <a:gd name="T83" fmla="*/ 86 h 65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496" h="659">
                      <a:moveTo>
                        <a:pt x="155" y="14"/>
                      </a:moveTo>
                      <a:lnTo>
                        <a:pt x="164" y="19"/>
                      </a:lnTo>
                      <a:lnTo>
                        <a:pt x="194" y="29"/>
                      </a:lnTo>
                      <a:lnTo>
                        <a:pt x="217" y="52"/>
                      </a:lnTo>
                      <a:lnTo>
                        <a:pt x="230" y="74"/>
                      </a:lnTo>
                      <a:lnTo>
                        <a:pt x="242" y="111"/>
                      </a:lnTo>
                      <a:lnTo>
                        <a:pt x="263" y="136"/>
                      </a:lnTo>
                      <a:lnTo>
                        <a:pt x="285" y="138"/>
                      </a:lnTo>
                      <a:lnTo>
                        <a:pt x="300" y="147"/>
                      </a:lnTo>
                      <a:lnTo>
                        <a:pt x="308" y="167"/>
                      </a:lnTo>
                      <a:lnTo>
                        <a:pt x="314" y="198"/>
                      </a:lnTo>
                      <a:lnTo>
                        <a:pt x="347" y="217"/>
                      </a:lnTo>
                      <a:lnTo>
                        <a:pt x="380" y="227"/>
                      </a:lnTo>
                      <a:lnTo>
                        <a:pt x="405" y="233"/>
                      </a:lnTo>
                      <a:lnTo>
                        <a:pt x="428" y="211"/>
                      </a:lnTo>
                      <a:lnTo>
                        <a:pt x="444" y="233"/>
                      </a:lnTo>
                      <a:lnTo>
                        <a:pt x="426" y="256"/>
                      </a:lnTo>
                      <a:lnTo>
                        <a:pt x="446" y="287"/>
                      </a:lnTo>
                      <a:lnTo>
                        <a:pt x="467" y="291"/>
                      </a:lnTo>
                      <a:lnTo>
                        <a:pt x="432" y="310"/>
                      </a:lnTo>
                      <a:lnTo>
                        <a:pt x="430" y="355"/>
                      </a:lnTo>
                      <a:lnTo>
                        <a:pt x="442" y="398"/>
                      </a:lnTo>
                      <a:lnTo>
                        <a:pt x="463" y="425"/>
                      </a:lnTo>
                      <a:lnTo>
                        <a:pt x="496" y="456"/>
                      </a:lnTo>
                      <a:lnTo>
                        <a:pt x="477" y="483"/>
                      </a:lnTo>
                      <a:lnTo>
                        <a:pt x="455" y="537"/>
                      </a:lnTo>
                      <a:lnTo>
                        <a:pt x="459" y="574"/>
                      </a:lnTo>
                      <a:lnTo>
                        <a:pt x="436" y="566"/>
                      </a:lnTo>
                      <a:lnTo>
                        <a:pt x="417" y="578"/>
                      </a:lnTo>
                      <a:lnTo>
                        <a:pt x="389" y="570"/>
                      </a:lnTo>
                      <a:lnTo>
                        <a:pt x="370" y="582"/>
                      </a:lnTo>
                      <a:lnTo>
                        <a:pt x="337" y="578"/>
                      </a:lnTo>
                      <a:lnTo>
                        <a:pt x="333" y="593"/>
                      </a:lnTo>
                      <a:lnTo>
                        <a:pt x="314" y="599"/>
                      </a:lnTo>
                      <a:lnTo>
                        <a:pt x="302" y="592"/>
                      </a:lnTo>
                      <a:lnTo>
                        <a:pt x="267" y="619"/>
                      </a:lnTo>
                      <a:lnTo>
                        <a:pt x="267" y="650"/>
                      </a:lnTo>
                      <a:lnTo>
                        <a:pt x="252" y="659"/>
                      </a:lnTo>
                      <a:lnTo>
                        <a:pt x="254" y="636"/>
                      </a:lnTo>
                      <a:lnTo>
                        <a:pt x="227" y="605"/>
                      </a:lnTo>
                      <a:lnTo>
                        <a:pt x="205" y="597"/>
                      </a:lnTo>
                      <a:lnTo>
                        <a:pt x="190" y="574"/>
                      </a:lnTo>
                      <a:lnTo>
                        <a:pt x="163" y="574"/>
                      </a:lnTo>
                      <a:lnTo>
                        <a:pt x="161" y="543"/>
                      </a:lnTo>
                      <a:lnTo>
                        <a:pt x="161" y="531"/>
                      </a:lnTo>
                      <a:lnTo>
                        <a:pt x="166" y="528"/>
                      </a:lnTo>
                      <a:lnTo>
                        <a:pt x="184" y="543"/>
                      </a:lnTo>
                      <a:lnTo>
                        <a:pt x="194" y="528"/>
                      </a:lnTo>
                      <a:lnTo>
                        <a:pt x="205" y="522"/>
                      </a:lnTo>
                      <a:lnTo>
                        <a:pt x="195" y="510"/>
                      </a:lnTo>
                      <a:lnTo>
                        <a:pt x="176" y="506"/>
                      </a:lnTo>
                      <a:lnTo>
                        <a:pt x="159" y="496"/>
                      </a:lnTo>
                      <a:lnTo>
                        <a:pt x="141" y="485"/>
                      </a:lnTo>
                      <a:lnTo>
                        <a:pt x="135" y="483"/>
                      </a:lnTo>
                      <a:lnTo>
                        <a:pt x="112" y="465"/>
                      </a:lnTo>
                      <a:lnTo>
                        <a:pt x="93" y="448"/>
                      </a:lnTo>
                      <a:lnTo>
                        <a:pt x="73" y="434"/>
                      </a:lnTo>
                      <a:lnTo>
                        <a:pt x="77" y="417"/>
                      </a:lnTo>
                      <a:lnTo>
                        <a:pt x="85" y="400"/>
                      </a:lnTo>
                      <a:lnTo>
                        <a:pt x="102" y="405"/>
                      </a:lnTo>
                      <a:lnTo>
                        <a:pt x="108" y="394"/>
                      </a:lnTo>
                      <a:lnTo>
                        <a:pt x="83" y="353"/>
                      </a:lnTo>
                      <a:lnTo>
                        <a:pt x="89" y="345"/>
                      </a:lnTo>
                      <a:lnTo>
                        <a:pt x="112" y="345"/>
                      </a:lnTo>
                      <a:lnTo>
                        <a:pt x="118" y="330"/>
                      </a:lnTo>
                      <a:lnTo>
                        <a:pt x="85" y="306"/>
                      </a:lnTo>
                      <a:lnTo>
                        <a:pt x="67" y="303"/>
                      </a:lnTo>
                      <a:lnTo>
                        <a:pt x="60" y="285"/>
                      </a:lnTo>
                      <a:lnTo>
                        <a:pt x="95" y="215"/>
                      </a:lnTo>
                      <a:lnTo>
                        <a:pt x="58" y="208"/>
                      </a:lnTo>
                      <a:lnTo>
                        <a:pt x="66" y="169"/>
                      </a:lnTo>
                      <a:lnTo>
                        <a:pt x="100" y="169"/>
                      </a:lnTo>
                      <a:lnTo>
                        <a:pt x="31" y="130"/>
                      </a:lnTo>
                      <a:lnTo>
                        <a:pt x="35" y="107"/>
                      </a:lnTo>
                      <a:lnTo>
                        <a:pt x="19" y="99"/>
                      </a:lnTo>
                      <a:lnTo>
                        <a:pt x="19" y="74"/>
                      </a:lnTo>
                      <a:lnTo>
                        <a:pt x="0" y="52"/>
                      </a:lnTo>
                      <a:lnTo>
                        <a:pt x="27" y="48"/>
                      </a:lnTo>
                      <a:lnTo>
                        <a:pt x="38" y="37"/>
                      </a:lnTo>
                      <a:lnTo>
                        <a:pt x="67" y="33"/>
                      </a:lnTo>
                      <a:lnTo>
                        <a:pt x="97" y="12"/>
                      </a:lnTo>
                      <a:lnTo>
                        <a:pt x="122" y="10"/>
                      </a:lnTo>
                      <a:lnTo>
                        <a:pt x="145" y="0"/>
                      </a:lnTo>
                      <a:lnTo>
                        <a:pt x="155" y="14"/>
                      </a:lnTo>
                      <a:close/>
                    </a:path>
                  </a:pathLst>
                </a:custGeom>
                <a:solidFill>
                  <a:srgbClr val="F5E209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0" name="Freeform 9"/>
                <p:cNvSpPr>
                  <a:spLocks/>
                </p:cNvSpPr>
                <p:nvPr/>
              </p:nvSpPr>
              <p:spPr bwMode="gray">
                <a:xfrm>
                  <a:off x="4323936" y="3196881"/>
                  <a:ext cx="569747" cy="536679"/>
                </a:xfrm>
                <a:custGeom>
                  <a:avLst/>
                  <a:gdLst>
                    <a:gd name="T0" fmla="*/ 2355 w 446"/>
                    <a:gd name="T1" fmla="*/ 816 h 421"/>
                    <a:gd name="T2" fmla="*/ 2498 w 446"/>
                    <a:gd name="T3" fmla="*/ 943 h 421"/>
                    <a:gd name="T4" fmla="*/ 2668 w 446"/>
                    <a:gd name="T5" fmla="*/ 1174 h 421"/>
                    <a:gd name="T6" fmla="*/ 2487 w 446"/>
                    <a:gd name="T7" fmla="*/ 1221 h 421"/>
                    <a:gd name="T8" fmla="*/ 2608 w 446"/>
                    <a:gd name="T9" fmla="*/ 1529 h 421"/>
                    <a:gd name="T10" fmla="*/ 2454 w 446"/>
                    <a:gd name="T11" fmla="*/ 1602 h 421"/>
                    <a:gd name="T12" fmla="*/ 2355 w 446"/>
                    <a:gd name="T13" fmla="*/ 1585 h 421"/>
                    <a:gd name="T14" fmla="*/ 2374 w 446"/>
                    <a:gd name="T15" fmla="*/ 1772 h 421"/>
                    <a:gd name="T16" fmla="*/ 2178 w 446"/>
                    <a:gd name="T17" fmla="*/ 1728 h 421"/>
                    <a:gd name="T18" fmla="*/ 2019 w 446"/>
                    <a:gd name="T19" fmla="*/ 1623 h 421"/>
                    <a:gd name="T20" fmla="*/ 2095 w 446"/>
                    <a:gd name="T21" fmla="*/ 1881 h 421"/>
                    <a:gd name="T22" fmla="*/ 2041 w 446"/>
                    <a:gd name="T23" fmla="*/ 2065 h 421"/>
                    <a:gd name="T24" fmla="*/ 1911 w 446"/>
                    <a:gd name="T25" fmla="*/ 2104 h 421"/>
                    <a:gd name="T26" fmla="*/ 1898 w 446"/>
                    <a:gd name="T27" fmla="*/ 2278 h 421"/>
                    <a:gd name="T28" fmla="*/ 1998 w 446"/>
                    <a:gd name="T29" fmla="*/ 2448 h 421"/>
                    <a:gd name="T30" fmla="*/ 1911 w 446"/>
                    <a:gd name="T31" fmla="*/ 2497 h 421"/>
                    <a:gd name="T32" fmla="*/ 1407 w 446"/>
                    <a:gd name="T33" fmla="*/ 2130 h 421"/>
                    <a:gd name="T34" fmla="*/ 1312 w 446"/>
                    <a:gd name="T35" fmla="*/ 1985 h 421"/>
                    <a:gd name="T36" fmla="*/ 1070 w 446"/>
                    <a:gd name="T37" fmla="*/ 1662 h 421"/>
                    <a:gd name="T38" fmla="*/ 852 w 446"/>
                    <a:gd name="T39" fmla="*/ 1585 h 421"/>
                    <a:gd name="T40" fmla="*/ 700 w 446"/>
                    <a:gd name="T41" fmla="*/ 1336 h 421"/>
                    <a:gd name="T42" fmla="*/ 400 w 446"/>
                    <a:gd name="T43" fmla="*/ 1087 h 421"/>
                    <a:gd name="T44" fmla="*/ 279 w 446"/>
                    <a:gd name="T45" fmla="*/ 1001 h 421"/>
                    <a:gd name="T46" fmla="*/ 314 w 446"/>
                    <a:gd name="T47" fmla="*/ 891 h 421"/>
                    <a:gd name="T48" fmla="*/ 0 w 446"/>
                    <a:gd name="T49" fmla="*/ 428 h 421"/>
                    <a:gd name="T50" fmla="*/ 122 w 446"/>
                    <a:gd name="T51" fmla="*/ 0 h 421"/>
                    <a:gd name="T52" fmla="*/ 451 w 446"/>
                    <a:gd name="T53" fmla="*/ 210 h 421"/>
                    <a:gd name="T54" fmla="*/ 728 w 446"/>
                    <a:gd name="T55" fmla="*/ 93 h 421"/>
                    <a:gd name="T56" fmla="*/ 1001 w 446"/>
                    <a:gd name="T57" fmla="*/ 154 h 421"/>
                    <a:gd name="T58" fmla="*/ 1176 w 446"/>
                    <a:gd name="T59" fmla="*/ 129 h 421"/>
                    <a:gd name="T60" fmla="*/ 1360 w 446"/>
                    <a:gd name="T61" fmla="*/ 164 h 421"/>
                    <a:gd name="T62" fmla="*/ 1596 w 446"/>
                    <a:gd name="T63" fmla="*/ 154 h 421"/>
                    <a:gd name="T64" fmla="*/ 1749 w 446"/>
                    <a:gd name="T65" fmla="*/ 164 h 421"/>
                    <a:gd name="T66" fmla="*/ 2019 w 446"/>
                    <a:gd name="T67" fmla="*/ 154 h 421"/>
                    <a:gd name="T68" fmla="*/ 2207 w 446"/>
                    <a:gd name="T69" fmla="*/ 376 h 421"/>
                    <a:gd name="T70" fmla="*/ 2559 w 446"/>
                    <a:gd name="T71" fmla="*/ 404 h 421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446" h="421">
                      <a:moveTo>
                        <a:pt x="423" y="68"/>
                      </a:moveTo>
                      <a:lnTo>
                        <a:pt x="388" y="138"/>
                      </a:lnTo>
                      <a:lnTo>
                        <a:pt x="395" y="156"/>
                      </a:lnTo>
                      <a:lnTo>
                        <a:pt x="413" y="159"/>
                      </a:lnTo>
                      <a:lnTo>
                        <a:pt x="446" y="183"/>
                      </a:lnTo>
                      <a:lnTo>
                        <a:pt x="440" y="198"/>
                      </a:lnTo>
                      <a:lnTo>
                        <a:pt x="417" y="198"/>
                      </a:lnTo>
                      <a:lnTo>
                        <a:pt x="411" y="206"/>
                      </a:lnTo>
                      <a:lnTo>
                        <a:pt x="436" y="247"/>
                      </a:lnTo>
                      <a:lnTo>
                        <a:pt x="430" y="258"/>
                      </a:lnTo>
                      <a:lnTo>
                        <a:pt x="413" y="253"/>
                      </a:lnTo>
                      <a:lnTo>
                        <a:pt x="405" y="270"/>
                      </a:lnTo>
                      <a:lnTo>
                        <a:pt x="397" y="262"/>
                      </a:lnTo>
                      <a:lnTo>
                        <a:pt x="388" y="268"/>
                      </a:lnTo>
                      <a:lnTo>
                        <a:pt x="376" y="272"/>
                      </a:lnTo>
                      <a:lnTo>
                        <a:pt x="392" y="299"/>
                      </a:lnTo>
                      <a:lnTo>
                        <a:pt x="388" y="307"/>
                      </a:lnTo>
                      <a:lnTo>
                        <a:pt x="359" y="291"/>
                      </a:lnTo>
                      <a:lnTo>
                        <a:pt x="347" y="274"/>
                      </a:lnTo>
                      <a:lnTo>
                        <a:pt x="333" y="274"/>
                      </a:lnTo>
                      <a:lnTo>
                        <a:pt x="333" y="291"/>
                      </a:lnTo>
                      <a:lnTo>
                        <a:pt x="347" y="317"/>
                      </a:lnTo>
                      <a:lnTo>
                        <a:pt x="355" y="334"/>
                      </a:lnTo>
                      <a:lnTo>
                        <a:pt x="337" y="348"/>
                      </a:lnTo>
                      <a:lnTo>
                        <a:pt x="330" y="348"/>
                      </a:lnTo>
                      <a:lnTo>
                        <a:pt x="316" y="355"/>
                      </a:lnTo>
                      <a:lnTo>
                        <a:pt x="320" y="369"/>
                      </a:lnTo>
                      <a:lnTo>
                        <a:pt x="314" y="384"/>
                      </a:lnTo>
                      <a:lnTo>
                        <a:pt x="328" y="406"/>
                      </a:lnTo>
                      <a:lnTo>
                        <a:pt x="330" y="413"/>
                      </a:lnTo>
                      <a:lnTo>
                        <a:pt x="320" y="417"/>
                      </a:lnTo>
                      <a:lnTo>
                        <a:pt x="316" y="421"/>
                      </a:lnTo>
                      <a:lnTo>
                        <a:pt x="269" y="384"/>
                      </a:lnTo>
                      <a:lnTo>
                        <a:pt x="231" y="359"/>
                      </a:lnTo>
                      <a:lnTo>
                        <a:pt x="225" y="355"/>
                      </a:lnTo>
                      <a:lnTo>
                        <a:pt x="217" y="334"/>
                      </a:lnTo>
                      <a:lnTo>
                        <a:pt x="174" y="307"/>
                      </a:lnTo>
                      <a:lnTo>
                        <a:pt x="176" y="280"/>
                      </a:lnTo>
                      <a:lnTo>
                        <a:pt x="161" y="272"/>
                      </a:lnTo>
                      <a:lnTo>
                        <a:pt x="141" y="268"/>
                      </a:lnTo>
                      <a:lnTo>
                        <a:pt x="138" y="239"/>
                      </a:lnTo>
                      <a:lnTo>
                        <a:pt x="116" y="225"/>
                      </a:lnTo>
                      <a:lnTo>
                        <a:pt x="91" y="196"/>
                      </a:lnTo>
                      <a:lnTo>
                        <a:pt x="66" y="183"/>
                      </a:lnTo>
                      <a:lnTo>
                        <a:pt x="56" y="167"/>
                      </a:lnTo>
                      <a:lnTo>
                        <a:pt x="46" y="169"/>
                      </a:lnTo>
                      <a:lnTo>
                        <a:pt x="43" y="159"/>
                      </a:lnTo>
                      <a:lnTo>
                        <a:pt x="52" y="150"/>
                      </a:lnTo>
                      <a:lnTo>
                        <a:pt x="33" y="97"/>
                      </a:lnTo>
                      <a:lnTo>
                        <a:pt x="0" y="72"/>
                      </a:lnTo>
                      <a:lnTo>
                        <a:pt x="0" y="39"/>
                      </a:lnTo>
                      <a:lnTo>
                        <a:pt x="19" y="0"/>
                      </a:lnTo>
                      <a:lnTo>
                        <a:pt x="62" y="45"/>
                      </a:lnTo>
                      <a:lnTo>
                        <a:pt x="75" y="35"/>
                      </a:lnTo>
                      <a:lnTo>
                        <a:pt x="87" y="8"/>
                      </a:lnTo>
                      <a:lnTo>
                        <a:pt x="120" y="16"/>
                      </a:lnTo>
                      <a:lnTo>
                        <a:pt x="136" y="2"/>
                      </a:lnTo>
                      <a:lnTo>
                        <a:pt x="165" y="26"/>
                      </a:lnTo>
                      <a:lnTo>
                        <a:pt x="176" y="18"/>
                      </a:lnTo>
                      <a:lnTo>
                        <a:pt x="194" y="22"/>
                      </a:lnTo>
                      <a:lnTo>
                        <a:pt x="200" y="33"/>
                      </a:lnTo>
                      <a:lnTo>
                        <a:pt x="225" y="28"/>
                      </a:lnTo>
                      <a:lnTo>
                        <a:pt x="244" y="35"/>
                      </a:lnTo>
                      <a:lnTo>
                        <a:pt x="264" y="26"/>
                      </a:lnTo>
                      <a:lnTo>
                        <a:pt x="269" y="33"/>
                      </a:lnTo>
                      <a:lnTo>
                        <a:pt x="289" y="28"/>
                      </a:lnTo>
                      <a:lnTo>
                        <a:pt x="310" y="35"/>
                      </a:lnTo>
                      <a:lnTo>
                        <a:pt x="333" y="26"/>
                      </a:lnTo>
                      <a:lnTo>
                        <a:pt x="349" y="51"/>
                      </a:lnTo>
                      <a:lnTo>
                        <a:pt x="364" y="64"/>
                      </a:lnTo>
                      <a:lnTo>
                        <a:pt x="386" y="61"/>
                      </a:lnTo>
                      <a:lnTo>
                        <a:pt x="423" y="68"/>
                      </a:lnTo>
                      <a:close/>
                    </a:path>
                  </a:pathLst>
                </a:custGeom>
                <a:solidFill>
                  <a:srgbClr val="F5E209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1" name="Freeform 11"/>
                <p:cNvSpPr>
                  <a:spLocks/>
                </p:cNvSpPr>
                <p:nvPr/>
              </p:nvSpPr>
              <p:spPr bwMode="gray">
                <a:xfrm>
                  <a:off x="4023058" y="2925874"/>
                  <a:ext cx="847152" cy="823690"/>
                </a:xfrm>
                <a:custGeom>
                  <a:avLst/>
                  <a:gdLst>
                    <a:gd name="T0" fmla="*/ 1795 w 667"/>
                    <a:gd name="T1" fmla="*/ 86 h 646"/>
                    <a:gd name="T2" fmla="*/ 2032 w 667"/>
                    <a:gd name="T3" fmla="*/ 300 h 646"/>
                    <a:gd name="T4" fmla="*/ 2319 w 667"/>
                    <a:gd name="T5" fmla="*/ 537 h 646"/>
                    <a:gd name="T6" fmla="*/ 2572 w 667"/>
                    <a:gd name="T7" fmla="*/ 762 h 646"/>
                    <a:gd name="T8" fmla="*/ 2940 w 667"/>
                    <a:gd name="T9" fmla="*/ 847 h 646"/>
                    <a:gd name="T10" fmla="*/ 3240 w 667"/>
                    <a:gd name="T11" fmla="*/ 690 h 646"/>
                    <a:gd name="T12" fmla="*/ 3350 w 667"/>
                    <a:gd name="T13" fmla="*/ 966 h 646"/>
                    <a:gd name="T14" fmla="*/ 3418 w 667"/>
                    <a:gd name="T15" fmla="*/ 1152 h 646"/>
                    <a:gd name="T16" fmla="*/ 3620 w 667"/>
                    <a:gd name="T17" fmla="*/ 1379 h 646"/>
                    <a:gd name="T18" fmla="*/ 3449 w 667"/>
                    <a:gd name="T19" fmla="*/ 1638 h 646"/>
                    <a:gd name="T20" fmla="*/ 3269 w 667"/>
                    <a:gd name="T21" fmla="*/ 1408 h 646"/>
                    <a:gd name="T22" fmla="*/ 3022 w 667"/>
                    <a:gd name="T23" fmla="*/ 1423 h 646"/>
                    <a:gd name="T24" fmla="*/ 2877 w 667"/>
                    <a:gd name="T25" fmla="*/ 1408 h 646"/>
                    <a:gd name="T26" fmla="*/ 2649 w 667"/>
                    <a:gd name="T27" fmla="*/ 1423 h 646"/>
                    <a:gd name="T28" fmla="*/ 2471 w 667"/>
                    <a:gd name="T29" fmla="*/ 1379 h 646"/>
                    <a:gd name="T30" fmla="*/ 2312 w 667"/>
                    <a:gd name="T31" fmla="*/ 1408 h 646"/>
                    <a:gd name="T32" fmla="*/ 2047 w 667"/>
                    <a:gd name="T33" fmla="*/ 1347 h 646"/>
                    <a:gd name="T34" fmla="*/ 1795 w 667"/>
                    <a:gd name="T35" fmla="*/ 1462 h 646"/>
                    <a:gd name="T36" fmla="*/ 1469 w 667"/>
                    <a:gd name="T37" fmla="*/ 1252 h 646"/>
                    <a:gd name="T38" fmla="*/ 1370 w 667"/>
                    <a:gd name="T39" fmla="*/ 1683 h 646"/>
                    <a:gd name="T40" fmla="*/ 1658 w 667"/>
                    <a:gd name="T41" fmla="*/ 2140 h 646"/>
                    <a:gd name="T42" fmla="*/ 1631 w 667"/>
                    <a:gd name="T43" fmla="*/ 2260 h 646"/>
                    <a:gd name="T44" fmla="*/ 1743 w 667"/>
                    <a:gd name="T45" fmla="*/ 2342 h 646"/>
                    <a:gd name="T46" fmla="*/ 2032 w 667"/>
                    <a:gd name="T47" fmla="*/ 2593 h 646"/>
                    <a:gd name="T48" fmla="*/ 2170 w 667"/>
                    <a:gd name="T49" fmla="*/ 2842 h 646"/>
                    <a:gd name="T50" fmla="*/ 2372 w 667"/>
                    <a:gd name="T51" fmla="*/ 2915 h 646"/>
                    <a:gd name="T52" fmla="*/ 2603 w 667"/>
                    <a:gd name="T53" fmla="*/ 3237 h 646"/>
                    <a:gd name="T54" fmla="*/ 2686 w 667"/>
                    <a:gd name="T55" fmla="*/ 3388 h 646"/>
                    <a:gd name="T56" fmla="*/ 3172 w 667"/>
                    <a:gd name="T57" fmla="*/ 3751 h 646"/>
                    <a:gd name="T58" fmla="*/ 3078 w 667"/>
                    <a:gd name="T59" fmla="*/ 3778 h 646"/>
                    <a:gd name="T60" fmla="*/ 2725 w 667"/>
                    <a:gd name="T61" fmla="*/ 3602 h 646"/>
                    <a:gd name="T62" fmla="*/ 2451 w 667"/>
                    <a:gd name="T63" fmla="*/ 3482 h 646"/>
                    <a:gd name="T64" fmla="*/ 2345 w 667"/>
                    <a:gd name="T65" fmla="*/ 3396 h 646"/>
                    <a:gd name="T66" fmla="*/ 2540 w 667"/>
                    <a:gd name="T67" fmla="*/ 3503 h 646"/>
                    <a:gd name="T68" fmla="*/ 2583 w 667"/>
                    <a:gd name="T69" fmla="*/ 3444 h 646"/>
                    <a:gd name="T70" fmla="*/ 2319 w 667"/>
                    <a:gd name="T71" fmla="*/ 3213 h 646"/>
                    <a:gd name="T72" fmla="*/ 1943 w 667"/>
                    <a:gd name="T73" fmla="*/ 2990 h 646"/>
                    <a:gd name="T74" fmla="*/ 1631 w 667"/>
                    <a:gd name="T75" fmla="*/ 3009 h 646"/>
                    <a:gd name="T76" fmla="*/ 1553 w 667"/>
                    <a:gd name="T77" fmla="*/ 2904 h 646"/>
                    <a:gd name="T78" fmla="*/ 1370 w 667"/>
                    <a:gd name="T79" fmla="*/ 2732 h 646"/>
                    <a:gd name="T80" fmla="*/ 1179 w 667"/>
                    <a:gd name="T81" fmla="*/ 2565 h 646"/>
                    <a:gd name="T82" fmla="*/ 1033 w 667"/>
                    <a:gd name="T83" fmla="*/ 2342 h 646"/>
                    <a:gd name="T84" fmla="*/ 1190 w 667"/>
                    <a:gd name="T85" fmla="*/ 2260 h 646"/>
                    <a:gd name="T86" fmla="*/ 957 w 667"/>
                    <a:gd name="T87" fmla="*/ 2064 h 646"/>
                    <a:gd name="T88" fmla="*/ 862 w 667"/>
                    <a:gd name="T89" fmla="*/ 1683 h 646"/>
                    <a:gd name="T90" fmla="*/ 780 w 667"/>
                    <a:gd name="T91" fmla="*/ 1496 h 646"/>
                    <a:gd name="T92" fmla="*/ 654 w 667"/>
                    <a:gd name="T93" fmla="*/ 1379 h 646"/>
                    <a:gd name="T94" fmla="*/ 424 w 667"/>
                    <a:gd name="T95" fmla="*/ 1533 h 646"/>
                    <a:gd name="T96" fmla="*/ 233 w 667"/>
                    <a:gd name="T97" fmla="*/ 1788 h 646"/>
                    <a:gd name="T98" fmla="*/ 90 w 667"/>
                    <a:gd name="T99" fmla="*/ 1533 h 646"/>
                    <a:gd name="T100" fmla="*/ 0 w 667"/>
                    <a:gd name="T101" fmla="*/ 1196 h 646"/>
                    <a:gd name="T102" fmla="*/ 177 w 667"/>
                    <a:gd name="T103" fmla="*/ 1191 h 646"/>
                    <a:gd name="T104" fmla="*/ 446 w 667"/>
                    <a:gd name="T105" fmla="*/ 1127 h 646"/>
                    <a:gd name="T106" fmla="*/ 724 w 667"/>
                    <a:gd name="T107" fmla="*/ 1152 h 646"/>
                    <a:gd name="T108" fmla="*/ 927 w 667"/>
                    <a:gd name="T109" fmla="*/ 1152 h 646"/>
                    <a:gd name="T110" fmla="*/ 990 w 667"/>
                    <a:gd name="T111" fmla="*/ 1027 h 646"/>
                    <a:gd name="T112" fmla="*/ 957 w 667"/>
                    <a:gd name="T113" fmla="*/ 808 h 646"/>
                    <a:gd name="T114" fmla="*/ 1140 w 667"/>
                    <a:gd name="T115" fmla="*/ 429 h 646"/>
                    <a:gd name="T116" fmla="*/ 1469 w 667"/>
                    <a:gd name="T117" fmla="*/ 283 h 646"/>
                    <a:gd name="T118" fmla="*/ 1631 w 667"/>
                    <a:gd name="T119" fmla="*/ 50 h 64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667" h="646">
                      <a:moveTo>
                        <a:pt x="309" y="0"/>
                      </a:moveTo>
                      <a:lnTo>
                        <a:pt x="314" y="14"/>
                      </a:lnTo>
                      <a:lnTo>
                        <a:pt x="332" y="41"/>
                      </a:lnTo>
                      <a:lnTo>
                        <a:pt x="355" y="50"/>
                      </a:lnTo>
                      <a:lnTo>
                        <a:pt x="377" y="80"/>
                      </a:lnTo>
                      <a:lnTo>
                        <a:pt x="406" y="91"/>
                      </a:lnTo>
                      <a:lnTo>
                        <a:pt x="427" y="122"/>
                      </a:lnTo>
                      <a:lnTo>
                        <a:pt x="450" y="128"/>
                      </a:lnTo>
                      <a:lnTo>
                        <a:pt x="481" y="145"/>
                      </a:lnTo>
                      <a:lnTo>
                        <a:pt x="514" y="142"/>
                      </a:lnTo>
                      <a:lnTo>
                        <a:pt x="541" y="134"/>
                      </a:lnTo>
                      <a:lnTo>
                        <a:pt x="567" y="116"/>
                      </a:lnTo>
                      <a:lnTo>
                        <a:pt x="586" y="138"/>
                      </a:lnTo>
                      <a:lnTo>
                        <a:pt x="586" y="163"/>
                      </a:lnTo>
                      <a:lnTo>
                        <a:pt x="602" y="171"/>
                      </a:lnTo>
                      <a:lnTo>
                        <a:pt x="598" y="194"/>
                      </a:lnTo>
                      <a:lnTo>
                        <a:pt x="667" y="233"/>
                      </a:lnTo>
                      <a:lnTo>
                        <a:pt x="633" y="233"/>
                      </a:lnTo>
                      <a:lnTo>
                        <a:pt x="625" y="272"/>
                      </a:lnTo>
                      <a:lnTo>
                        <a:pt x="603" y="275"/>
                      </a:lnTo>
                      <a:lnTo>
                        <a:pt x="588" y="262"/>
                      </a:lnTo>
                      <a:lnTo>
                        <a:pt x="572" y="237"/>
                      </a:lnTo>
                      <a:lnTo>
                        <a:pt x="549" y="246"/>
                      </a:lnTo>
                      <a:lnTo>
                        <a:pt x="528" y="239"/>
                      </a:lnTo>
                      <a:lnTo>
                        <a:pt x="508" y="244"/>
                      </a:lnTo>
                      <a:lnTo>
                        <a:pt x="503" y="237"/>
                      </a:lnTo>
                      <a:lnTo>
                        <a:pt x="483" y="246"/>
                      </a:lnTo>
                      <a:lnTo>
                        <a:pt x="464" y="239"/>
                      </a:lnTo>
                      <a:lnTo>
                        <a:pt x="439" y="244"/>
                      </a:lnTo>
                      <a:lnTo>
                        <a:pt x="433" y="233"/>
                      </a:lnTo>
                      <a:lnTo>
                        <a:pt x="415" y="229"/>
                      </a:lnTo>
                      <a:lnTo>
                        <a:pt x="404" y="237"/>
                      </a:lnTo>
                      <a:lnTo>
                        <a:pt x="375" y="213"/>
                      </a:lnTo>
                      <a:lnTo>
                        <a:pt x="359" y="227"/>
                      </a:lnTo>
                      <a:lnTo>
                        <a:pt x="326" y="219"/>
                      </a:lnTo>
                      <a:lnTo>
                        <a:pt x="314" y="246"/>
                      </a:lnTo>
                      <a:lnTo>
                        <a:pt x="301" y="256"/>
                      </a:lnTo>
                      <a:lnTo>
                        <a:pt x="258" y="211"/>
                      </a:lnTo>
                      <a:lnTo>
                        <a:pt x="239" y="250"/>
                      </a:lnTo>
                      <a:lnTo>
                        <a:pt x="239" y="283"/>
                      </a:lnTo>
                      <a:lnTo>
                        <a:pt x="272" y="308"/>
                      </a:lnTo>
                      <a:lnTo>
                        <a:pt x="291" y="361"/>
                      </a:lnTo>
                      <a:lnTo>
                        <a:pt x="282" y="370"/>
                      </a:lnTo>
                      <a:lnTo>
                        <a:pt x="285" y="380"/>
                      </a:lnTo>
                      <a:lnTo>
                        <a:pt x="295" y="378"/>
                      </a:lnTo>
                      <a:lnTo>
                        <a:pt x="305" y="394"/>
                      </a:lnTo>
                      <a:lnTo>
                        <a:pt x="330" y="407"/>
                      </a:lnTo>
                      <a:lnTo>
                        <a:pt x="355" y="436"/>
                      </a:lnTo>
                      <a:lnTo>
                        <a:pt x="377" y="450"/>
                      </a:lnTo>
                      <a:lnTo>
                        <a:pt x="380" y="479"/>
                      </a:lnTo>
                      <a:lnTo>
                        <a:pt x="400" y="483"/>
                      </a:lnTo>
                      <a:lnTo>
                        <a:pt x="415" y="491"/>
                      </a:lnTo>
                      <a:lnTo>
                        <a:pt x="413" y="518"/>
                      </a:lnTo>
                      <a:lnTo>
                        <a:pt x="456" y="545"/>
                      </a:lnTo>
                      <a:lnTo>
                        <a:pt x="464" y="566"/>
                      </a:lnTo>
                      <a:lnTo>
                        <a:pt x="470" y="570"/>
                      </a:lnTo>
                      <a:lnTo>
                        <a:pt x="508" y="595"/>
                      </a:lnTo>
                      <a:lnTo>
                        <a:pt x="555" y="632"/>
                      </a:lnTo>
                      <a:lnTo>
                        <a:pt x="549" y="646"/>
                      </a:lnTo>
                      <a:lnTo>
                        <a:pt x="539" y="636"/>
                      </a:lnTo>
                      <a:lnTo>
                        <a:pt x="497" y="609"/>
                      </a:lnTo>
                      <a:lnTo>
                        <a:pt x="477" y="607"/>
                      </a:lnTo>
                      <a:lnTo>
                        <a:pt x="464" y="605"/>
                      </a:lnTo>
                      <a:lnTo>
                        <a:pt x="429" y="586"/>
                      </a:lnTo>
                      <a:lnTo>
                        <a:pt x="402" y="580"/>
                      </a:lnTo>
                      <a:lnTo>
                        <a:pt x="410" y="572"/>
                      </a:lnTo>
                      <a:lnTo>
                        <a:pt x="431" y="576"/>
                      </a:lnTo>
                      <a:lnTo>
                        <a:pt x="444" y="590"/>
                      </a:lnTo>
                      <a:lnTo>
                        <a:pt x="456" y="592"/>
                      </a:lnTo>
                      <a:lnTo>
                        <a:pt x="452" y="580"/>
                      </a:lnTo>
                      <a:lnTo>
                        <a:pt x="435" y="568"/>
                      </a:lnTo>
                      <a:lnTo>
                        <a:pt x="406" y="541"/>
                      </a:lnTo>
                      <a:lnTo>
                        <a:pt x="377" y="518"/>
                      </a:lnTo>
                      <a:lnTo>
                        <a:pt x="340" y="504"/>
                      </a:lnTo>
                      <a:lnTo>
                        <a:pt x="313" y="502"/>
                      </a:lnTo>
                      <a:lnTo>
                        <a:pt x="285" y="506"/>
                      </a:lnTo>
                      <a:lnTo>
                        <a:pt x="276" y="504"/>
                      </a:lnTo>
                      <a:lnTo>
                        <a:pt x="272" y="489"/>
                      </a:lnTo>
                      <a:lnTo>
                        <a:pt x="264" y="469"/>
                      </a:lnTo>
                      <a:lnTo>
                        <a:pt x="239" y="460"/>
                      </a:lnTo>
                      <a:lnTo>
                        <a:pt x="227" y="448"/>
                      </a:lnTo>
                      <a:lnTo>
                        <a:pt x="206" y="432"/>
                      </a:lnTo>
                      <a:lnTo>
                        <a:pt x="183" y="403"/>
                      </a:lnTo>
                      <a:lnTo>
                        <a:pt x="181" y="394"/>
                      </a:lnTo>
                      <a:lnTo>
                        <a:pt x="188" y="384"/>
                      </a:lnTo>
                      <a:lnTo>
                        <a:pt x="208" y="380"/>
                      </a:lnTo>
                      <a:lnTo>
                        <a:pt x="186" y="361"/>
                      </a:lnTo>
                      <a:lnTo>
                        <a:pt x="167" y="347"/>
                      </a:lnTo>
                      <a:lnTo>
                        <a:pt x="150" y="312"/>
                      </a:lnTo>
                      <a:lnTo>
                        <a:pt x="150" y="283"/>
                      </a:lnTo>
                      <a:lnTo>
                        <a:pt x="144" y="262"/>
                      </a:lnTo>
                      <a:lnTo>
                        <a:pt x="136" y="252"/>
                      </a:lnTo>
                      <a:lnTo>
                        <a:pt x="130" y="252"/>
                      </a:lnTo>
                      <a:lnTo>
                        <a:pt x="113" y="233"/>
                      </a:lnTo>
                      <a:lnTo>
                        <a:pt x="90" y="223"/>
                      </a:lnTo>
                      <a:lnTo>
                        <a:pt x="74" y="258"/>
                      </a:lnTo>
                      <a:lnTo>
                        <a:pt x="51" y="301"/>
                      </a:lnTo>
                      <a:lnTo>
                        <a:pt x="41" y="301"/>
                      </a:lnTo>
                      <a:lnTo>
                        <a:pt x="31" y="293"/>
                      </a:lnTo>
                      <a:lnTo>
                        <a:pt x="16" y="258"/>
                      </a:lnTo>
                      <a:lnTo>
                        <a:pt x="6" y="240"/>
                      </a:lnTo>
                      <a:lnTo>
                        <a:pt x="0" y="202"/>
                      </a:lnTo>
                      <a:lnTo>
                        <a:pt x="24" y="208"/>
                      </a:lnTo>
                      <a:lnTo>
                        <a:pt x="31" y="200"/>
                      </a:lnTo>
                      <a:lnTo>
                        <a:pt x="58" y="200"/>
                      </a:lnTo>
                      <a:lnTo>
                        <a:pt x="78" y="190"/>
                      </a:lnTo>
                      <a:lnTo>
                        <a:pt x="90" y="173"/>
                      </a:lnTo>
                      <a:lnTo>
                        <a:pt x="126" y="194"/>
                      </a:lnTo>
                      <a:lnTo>
                        <a:pt x="136" y="186"/>
                      </a:lnTo>
                      <a:lnTo>
                        <a:pt x="161" y="194"/>
                      </a:lnTo>
                      <a:lnTo>
                        <a:pt x="179" y="190"/>
                      </a:lnTo>
                      <a:lnTo>
                        <a:pt x="173" y="173"/>
                      </a:lnTo>
                      <a:lnTo>
                        <a:pt x="181" y="151"/>
                      </a:lnTo>
                      <a:lnTo>
                        <a:pt x="167" y="136"/>
                      </a:lnTo>
                      <a:lnTo>
                        <a:pt x="192" y="124"/>
                      </a:lnTo>
                      <a:lnTo>
                        <a:pt x="200" y="72"/>
                      </a:lnTo>
                      <a:lnTo>
                        <a:pt x="245" y="62"/>
                      </a:lnTo>
                      <a:lnTo>
                        <a:pt x="258" y="48"/>
                      </a:lnTo>
                      <a:lnTo>
                        <a:pt x="282" y="37"/>
                      </a:lnTo>
                      <a:lnTo>
                        <a:pt x="285" y="8"/>
                      </a:lnTo>
                      <a:lnTo>
                        <a:pt x="309" y="0"/>
                      </a:lnTo>
                      <a:close/>
                    </a:path>
                  </a:pathLst>
                </a:custGeom>
                <a:solidFill>
                  <a:srgbClr val="F5E209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2" name="Freeform 12"/>
                <p:cNvSpPr>
                  <a:spLocks/>
                </p:cNvSpPr>
                <p:nvPr/>
              </p:nvSpPr>
              <p:spPr bwMode="gray">
                <a:xfrm>
                  <a:off x="4467974" y="3670610"/>
                  <a:ext cx="68284" cy="14937"/>
                </a:xfrm>
                <a:custGeom>
                  <a:avLst/>
                  <a:gdLst>
                    <a:gd name="T0" fmla="*/ 0 w 55"/>
                    <a:gd name="T1" fmla="*/ 75 h 11"/>
                    <a:gd name="T2" fmla="*/ 19 w 55"/>
                    <a:gd name="T3" fmla="*/ 28 h 11"/>
                    <a:gd name="T4" fmla="*/ 193 w 55"/>
                    <a:gd name="T5" fmla="*/ 0 h 11"/>
                    <a:gd name="T6" fmla="*/ 232 w 55"/>
                    <a:gd name="T7" fmla="*/ 28 h 11"/>
                    <a:gd name="T8" fmla="*/ 248 w 55"/>
                    <a:gd name="T9" fmla="*/ 97 h 11"/>
                    <a:gd name="T10" fmla="*/ 187 w 55"/>
                    <a:gd name="T11" fmla="*/ 97 h 11"/>
                    <a:gd name="T12" fmla="*/ 142 w 55"/>
                    <a:gd name="T13" fmla="*/ 123 h 11"/>
                    <a:gd name="T14" fmla="*/ 19 w 55"/>
                    <a:gd name="T15" fmla="*/ 123 h 11"/>
                    <a:gd name="T16" fmla="*/ 2 w 55"/>
                    <a:gd name="T17" fmla="*/ 95 h 11"/>
                    <a:gd name="T18" fmla="*/ 0 w 55"/>
                    <a:gd name="T19" fmla="*/ 75 h 1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55" h="11">
                      <a:moveTo>
                        <a:pt x="0" y="6"/>
                      </a:moveTo>
                      <a:lnTo>
                        <a:pt x="4" y="2"/>
                      </a:lnTo>
                      <a:lnTo>
                        <a:pt x="43" y="0"/>
                      </a:lnTo>
                      <a:lnTo>
                        <a:pt x="51" y="2"/>
                      </a:lnTo>
                      <a:lnTo>
                        <a:pt x="55" y="9"/>
                      </a:lnTo>
                      <a:lnTo>
                        <a:pt x="41" y="9"/>
                      </a:lnTo>
                      <a:lnTo>
                        <a:pt x="31" y="11"/>
                      </a:lnTo>
                      <a:lnTo>
                        <a:pt x="4" y="11"/>
                      </a:lnTo>
                      <a:lnTo>
                        <a:pt x="2" y="8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3" name="Freeform 13"/>
                <p:cNvSpPr>
                  <a:spLocks/>
                </p:cNvSpPr>
                <p:nvPr/>
              </p:nvSpPr>
              <p:spPr bwMode="gray">
                <a:xfrm>
                  <a:off x="4143623" y="3233158"/>
                  <a:ext cx="43745" cy="50147"/>
                </a:xfrm>
                <a:custGeom>
                  <a:avLst/>
                  <a:gdLst>
                    <a:gd name="T0" fmla="*/ 109 w 33"/>
                    <a:gd name="T1" fmla="*/ 0 h 39"/>
                    <a:gd name="T2" fmla="*/ 119 w 33"/>
                    <a:gd name="T3" fmla="*/ 0 h 39"/>
                    <a:gd name="T4" fmla="*/ 155 w 33"/>
                    <a:gd name="T5" fmla="*/ 129 h 39"/>
                    <a:gd name="T6" fmla="*/ 209 w 33"/>
                    <a:gd name="T7" fmla="*/ 155 h 39"/>
                    <a:gd name="T8" fmla="*/ 276 w 33"/>
                    <a:gd name="T9" fmla="*/ 212 h 39"/>
                    <a:gd name="T10" fmla="*/ 287 w 33"/>
                    <a:gd name="T11" fmla="*/ 239 h 39"/>
                    <a:gd name="T12" fmla="*/ 287 w 33"/>
                    <a:gd name="T13" fmla="*/ 255 h 39"/>
                    <a:gd name="T14" fmla="*/ 240 w 33"/>
                    <a:gd name="T15" fmla="*/ 239 h 39"/>
                    <a:gd name="T16" fmla="*/ 179 w 33"/>
                    <a:gd name="T17" fmla="*/ 212 h 39"/>
                    <a:gd name="T18" fmla="*/ 71 w 33"/>
                    <a:gd name="T19" fmla="*/ 212 h 39"/>
                    <a:gd name="T20" fmla="*/ 0 w 33"/>
                    <a:gd name="T21" fmla="*/ 164 h 39"/>
                    <a:gd name="T22" fmla="*/ 50 w 33"/>
                    <a:gd name="T23" fmla="*/ 35 h 39"/>
                    <a:gd name="T24" fmla="*/ 109 w 33"/>
                    <a:gd name="T25" fmla="*/ 0 h 3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3" h="39">
                      <a:moveTo>
                        <a:pt x="12" y="0"/>
                      </a:moveTo>
                      <a:lnTo>
                        <a:pt x="14" y="0"/>
                      </a:lnTo>
                      <a:lnTo>
                        <a:pt x="18" y="20"/>
                      </a:lnTo>
                      <a:lnTo>
                        <a:pt x="24" y="24"/>
                      </a:lnTo>
                      <a:lnTo>
                        <a:pt x="31" y="32"/>
                      </a:lnTo>
                      <a:lnTo>
                        <a:pt x="33" y="37"/>
                      </a:lnTo>
                      <a:lnTo>
                        <a:pt x="33" y="39"/>
                      </a:lnTo>
                      <a:lnTo>
                        <a:pt x="27" y="37"/>
                      </a:lnTo>
                      <a:lnTo>
                        <a:pt x="20" y="32"/>
                      </a:lnTo>
                      <a:lnTo>
                        <a:pt x="8" y="32"/>
                      </a:lnTo>
                      <a:lnTo>
                        <a:pt x="0" y="26"/>
                      </a:lnTo>
                      <a:lnTo>
                        <a:pt x="6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4" name="Freeform 14"/>
                <p:cNvSpPr>
                  <a:spLocks/>
                </p:cNvSpPr>
                <p:nvPr/>
              </p:nvSpPr>
              <p:spPr bwMode="gray">
                <a:xfrm>
                  <a:off x="4122284" y="3240626"/>
                  <a:ext cx="24540" cy="101361"/>
                </a:xfrm>
                <a:custGeom>
                  <a:avLst/>
                  <a:gdLst>
                    <a:gd name="T0" fmla="*/ 27 w 19"/>
                    <a:gd name="T1" fmla="*/ 34 h 80"/>
                    <a:gd name="T2" fmla="*/ 2 w 19"/>
                    <a:gd name="T3" fmla="*/ 2 h 80"/>
                    <a:gd name="T4" fmla="*/ 40 w 19"/>
                    <a:gd name="T5" fmla="*/ 0 h 80"/>
                    <a:gd name="T6" fmla="*/ 58 w 19"/>
                    <a:gd name="T7" fmla="*/ 2 h 80"/>
                    <a:gd name="T8" fmla="*/ 70 w 19"/>
                    <a:gd name="T9" fmla="*/ 48 h 80"/>
                    <a:gd name="T10" fmla="*/ 70 w 19"/>
                    <a:gd name="T11" fmla="*/ 125 h 80"/>
                    <a:gd name="T12" fmla="*/ 74 w 19"/>
                    <a:gd name="T13" fmla="*/ 150 h 80"/>
                    <a:gd name="T14" fmla="*/ 90 w 19"/>
                    <a:gd name="T15" fmla="*/ 197 h 80"/>
                    <a:gd name="T16" fmla="*/ 74 w 19"/>
                    <a:gd name="T17" fmla="*/ 303 h 80"/>
                    <a:gd name="T18" fmla="*/ 132 w 19"/>
                    <a:gd name="T19" fmla="*/ 445 h 80"/>
                    <a:gd name="T20" fmla="*/ 113 w 19"/>
                    <a:gd name="T21" fmla="*/ 437 h 80"/>
                    <a:gd name="T22" fmla="*/ 40 w 19"/>
                    <a:gd name="T23" fmla="*/ 324 h 80"/>
                    <a:gd name="T24" fmla="*/ 0 w 19"/>
                    <a:gd name="T25" fmla="*/ 273 h 80"/>
                    <a:gd name="T26" fmla="*/ 0 w 19"/>
                    <a:gd name="T27" fmla="*/ 251 h 80"/>
                    <a:gd name="T28" fmla="*/ 27 w 19"/>
                    <a:gd name="T29" fmla="*/ 251 h 80"/>
                    <a:gd name="T30" fmla="*/ 70 w 19"/>
                    <a:gd name="T31" fmla="*/ 197 h 80"/>
                    <a:gd name="T32" fmla="*/ 70 w 19"/>
                    <a:gd name="T33" fmla="*/ 148 h 80"/>
                    <a:gd name="T34" fmla="*/ 40 w 19"/>
                    <a:gd name="T35" fmla="*/ 89 h 80"/>
                    <a:gd name="T36" fmla="*/ 27 w 19"/>
                    <a:gd name="T37" fmla="*/ 48 h 80"/>
                    <a:gd name="T38" fmla="*/ 27 w 19"/>
                    <a:gd name="T39" fmla="*/ 34 h 8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19" h="80">
                      <a:moveTo>
                        <a:pt x="4" y="6"/>
                      </a:moveTo>
                      <a:lnTo>
                        <a:pt x="2" y="2"/>
                      </a:lnTo>
                      <a:lnTo>
                        <a:pt x="6" y="0"/>
                      </a:lnTo>
                      <a:lnTo>
                        <a:pt x="8" y="2"/>
                      </a:lnTo>
                      <a:lnTo>
                        <a:pt x="10" y="8"/>
                      </a:lnTo>
                      <a:lnTo>
                        <a:pt x="10" y="22"/>
                      </a:lnTo>
                      <a:lnTo>
                        <a:pt x="11" y="27"/>
                      </a:lnTo>
                      <a:lnTo>
                        <a:pt x="13" y="35"/>
                      </a:lnTo>
                      <a:lnTo>
                        <a:pt x="11" y="55"/>
                      </a:lnTo>
                      <a:lnTo>
                        <a:pt x="19" y="80"/>
                      </a:lnTo>
                      <a:lnTo>
                        <a:pt x="17" y="78"/>
                      </a:lnTo>
                      <a:lnTo>
                        <a:pt x="6" y="58"/>
                      </a:lnTo>
                      <a:lnTo>
                        <a:pt x="0" y="49"/>
                      </a:lnTo>
                      <a:lnTo>
                        <a:pt x="0" y="45"/>
                      </a:lnTo>
                      <a:lnTo>
                        <a:pt x="4" y="45"/>
                      </a:lnTo>
                      <a:lnTo>
                        <a:pt x="10" y="35"/>
                      </a:lnTo>
                      <a:lnTo>
                        <a:pt x="10" y="26"/>
                      </a:lnTo>
                      <a:lnTo>
                        <a:pt x="6" y="16"/>
                      </a:lnTo>
                      <a:lnTo>
                        <a:pt x="4" y="8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5" name="Freeform 15"/>
                <p:cNvSpPr>
                  <a:spLocks/>
                </p:cNvSpPr>
                <p:nvPr/>
              </p:nvSpPr>
              <p:spPr bwMode="gray">
                <a:xfrm>
                  <a:off x="4433831" y="3589521"/>
                  <a:ext cx="61883" cy="26674"/>
                </a:xfrm>
                <a:custGeom>
                  <a:avLst/>
                  <a:gdLst>
                    <a:gd name="T0" fmla="*/ 0 w 51"/>
                    <a:gd name="T1" fmla="*/ 2 h 21"/>
                    <a:gd name="T2" fmla="*/ 2 w 51"/>
                    <a:gd name="T3" fmla="*/ 0 h 21"/>
                    <a:gd name="T4" fmla="*/ 17 w 51"/>
                    <a:gd name="T5" fmla="*/ 0 h 21"/>
                    <a:gd name="T6" fmla="*/ 110 w 51"/>
                    <a:gd name="T7" fmla="*/ 35 h 21"/>
                    <a:gd name="T8" fmla="*/ 148 w 51"/>
                    <a:gd name="T9" fmla="*/ 51 h 21"/>
                    <a:gd name="T10" fmla="*/ 168 w 51"/>
                    <a:gd name="T11" fmla="*/ 51 h 21"/>
                    <a:gd name="T12" fmla="*/ 183 w 51"/>
                    <a:gd name="T13" fmla="*/ 73 h 21"/>
                    <a:gd name="T14" fmla="*/ 168 w 51"/>
                    <a:gd name="T15" fmla="*/ 101 h 21"/>
                    <a:gd name="T16" fmla="*/ 141 w 51"/>
                    <a:gd name="T17" fmla="*/ 101 h 21"/>
                    <a:gd name="T18" fmla="*/ 88 w 51"/>
                    <a:gd name="T19" fmla="*/ 107 h 21"/>
                    <a:gd name="T20" fmla="*/ 57 w 51"/>
                    <a:gd name="T21" fmla="*/ 124 h 21"/>
                    <a:gd name="T22" fmla="*/ 17 w 51"/>
                    <a:gd name="T23" fmla="*/ 101 h 21"/>
                    <a:gd name="T24" fmla="*/ 0 w 51"/>
                    <a:gd name="T25" fmla="*/ 51 h 21"/>
                    <a:gd name="T26" fmla="*/ 0 w 51"/>
                    <a:gd name="T27" fmla="*/ 2 h 2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51" h="21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31" y="6"/>
                      </a:lnTo>
                      <a:lnTo>
                        <a:pt x="41" y="9"/>
                      </a:lnTo>
                      <a:lnTo>
                        <a:pt x="47" y="9"/>
                      </a:lnTo>
                      <a:lnTo>
                        <a:pt x="51" y="13"/>
                      </a:lnTo>
                      <a:lnTo>
                        <a:pt x="47" y="17"/>
                      </a:lnTo>
                      <a:lnTo>
                        <a:pt x="39" y="17"/>
                      </a:lnTo>
                      <a:lnTo>
                        <a:pt x="25" y="19"/>
                      </a:lnTo>
                      <a:lnTo>
                        <a:pt x="16" y="21"/>
                      </a:lnTo>
                      <a:lnTo>
                        <a:pt x="4" y="17"/>
                      </a:lnTo>
                      <a:lnTo>
                        <a:pt x="0" y="9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6" name="Freeform 16"/>
                <p:cNvSpPr>
                  <a:spLocks/>
                </p:cNvSpPr>
                <p:nvPr/>
              </p:nvSpPr>
              <p:spPr bwMode="gray">
                <a:xfrm>
                  <a:off x="3483185" y="2486289"/>
                  <a:ext cx="1022131" cy="500402"/>
                </a:xfrm>
                <a:custGeom>
                  <a:avLst/>
                  <a:gdLst>
                    <a:gd name="T0" fmla="*/ 2678 w 802"/>
                    <a:gd name="T1" fmla="*/ 302 h 392"/>
                    <a:gd name="T2" fmla="*/ 2495 w 802"/>
                    <a:gd name="T3" fmla="*/ 386 h 392"/>
                    <a:gd name="T4" fmla="*/ 2408 w 802"/>
                    <a:gd name="T5" fmla="*/ 584 h 392"/>
                    <a:gd name="T6" fmla="*/ 2092 w 802"/>
                    <a:gd name="T7" fmla="*/ 803 h 392"/>
                    <a:gd name="T8" fmla="*/ 2164 w 802"/>
                    <a:gd name="T9" fmla="*/ 1178 h 392"/>
                    <a:gd name="T10" fmla="*/ 2083 w 802"/>
                    <a:gd name="T11" fmla="*/ 1305 h 392"/>
                    <a:gd name="T12" fmla="*/ 1866 w 802"/>
                    <a:gd name="T13" fmla="*/ 1200 h 392"/>
                    <a:gd name="T14" fmla="*/ 1700 w 802"/>
                    <a:gd name="T15" fmla="*/ 1202 h 392"/>
                    <a:gd name="T16" fmla="*/ 1454 w 802"/>
                    <a:gd name="T17" fmla="*/ 1232 h 392"/>
                    <a:gd name="T18" fmla="*/ 1212 w 802"/>
                    <a:gd name="T19" fmla="*/ 1311 h 392"/>
                    <a:gd name="T20" fmla="*/ 940 w 802"/>
                    <a:gd name="T21" fmla="*/ 1376 h 392"/>
                    <a:gd name="T22" fmla="*/ 661 w 802"/>
                    <a:gd name="T23" fmla="*/ 1245 h 392"/>
                    <a:gd name="T24" fmla="*/ 552 w 802"/>
                    <a:gd name="T25" fmla="*/ 1387 h 392"/>
                    <a:gd name="T26" fmla="*/ 376 w 802"/>
                    <a:gd name="T27" fmla="*/ 1363 h 392"/>
                    <a:gd name="T28" fmla="*/ 227 w 802"/>
                    <a:gd name="T29" fmla="*/ 1222 h 392"/>
                    <a:gd name="T30" fmla="*/ 0 w 802"/>
                    <a:gd name="T31" fmla="*/ 1269 h 392"/>
                    <a:gd name="T32" fmla="*/ 29 w 802"/>
                    <a:gd name="T33" fmla="*/ 1464 h 392"/>
                    <a:gd name="T34" fmla="*/ 78 w 802"/>
                    <a:gd name="T35" fmla="*/ 1720 h 392"/>
                    <a:gd name="T36" fmla="*/ 272 w 802"/>
                    <a:gd name="T37" fmla="*/ 1838 h 392"/>
                    <a:gd name="T38" fmla="*/ 453 w 802"/>
                    <a:gd name="T39" fmla="*/ 1816 h 392"/>
                    <a:gd name="T40" fmla="*/ 552 w 802"/>
                    <a:gd name="T41" fmla="*/ 1889 h 392"/>
                    <a:gd name="T42" fmla="*/ 689 w 802"/>
                    <a:gd name="T43" fmla="*/ 1947 h 392"/>
                    <a:gd name="T44" fmla="*/ 931 w 802"/>
                    <a:gd name="T45" fmla="*/ 1898 h 392"/>
                    <a:gd name="T46" fmla="*/ 1152 w 802"/>
                    <a:gd name="T47" fmla="*/ 1805 h 392"/>
                    <a:gd name="T48" fmla="*/ 1492 w 802"/>
                    <a:gd name="T49" fmla="*/ 1793 h 392"/>
                    <a:gd name="T50" fmla="*/ 1613 w 802"/>
                    <a:gd name="T51" fmla="*/ 1749 h 392"/>
                    <a:gd name="T52" fmla="*/ 1623 w 802"/>
                    <a:gd name="T53" fmla="*/ 1816 h 392"/>
                    <a:gd name="T54" fmla="*/ 1700 w 802"/>
                    <a:gd name="T55" fmla="*/ 1999 h 392"/>
                    <a:gd name="T56" fmla="*/ 1824 w 802"/>
                    <a:gd name="T57" fmla="*/ 2096 h 392"/>
                    <a:gd name="T58" fmla="*/ 1982 w 802"/>
                    <a:gd name="T59" fmla="*/ 2199 h 392"/>
                    <a:gd name="T60" fmla="*/ 2198 w 802"/>
                    <a:gd name="T61" fmla="*/ 2235 h 392"/>
                    <a:gd name="T62" fmla="*/ 2443 w 802"/>
                    <a:gd name="T63" fmla="*/ 2271 h 392"/>
                    <a:gd name="T64" fmla="*/ 2592 w 802"/>
                    <a:gd name="T65" fmla="*/ 2325 h 392"/>
                    <a:gd name="T66" fmla="*/ 2972 w 802"/>
                    <a:gd name="T67" fmla="*/ 2346 h 392"/>
                    <a:gd name="T68" fmla="*/ 3120 w 802"/>
                    <a:gd name="T69" fmla="*/ 2356 h 392"/>
                    <a:gd name="T70" fmla="*/ 3214 w 802"/>
                    <a:gd name="T71" fmla="*/ 2295 h 392"/>
                    <a:gd name="T72" fmla="*/ 3324 w 802"/>
                    <a:gd name="T73" fmla="*/ 2178 h 392"/>
                    <a:gd name="T74" fmla="*/ 3471 w 802"/>
                    <a:gd name="T75" fmla="*/ 2133 h 392"/>
                    <a:gd name="T76" fmla="*/ 3629 w 802"/>
                    <a:gd name="T77" fmla="*/ 2173 h 392"/>
                    <a:gd name="T78" fmla="*/ 3765 w 802"/>
                    <a:gd name="T79" fmla="*/ 2087 h 392"/>
                    <a:gd name="T80" fmla="*/ 3914 w 802"/>
                    <a:gd name="T81" fmla="*/ 2087 h 392"/>
                    <a:gd name="T82" fmla="*/ 3998 w 802"/>
                    <a:gd name="T83" fmla="*/ 2096 h 392"/>
                    <a:gd name="T84" fmla="*/ 4021 w 802"/>
                    <a:gd name="T85" fmla="*/ 1999 h 392"/>
                    <a:gd name="T86" fmla="*/ 4138 w 802"/>
                    <a:gd name="T87" fmla="*/ 1924 h 392"/>
                    <a:gd name="T88" fmla="*/ 4372 w 802"/>
                    <a:gd name="T89" fmla="*/ 1793 h 392"/>
                    <a:gd name="T90" fmla="*/ 4348 w 802"/>
                    <a:gd name="T91" fmla="*/ 1561 h 392"/>
                    <a:gd name="T92" fmla="*/ 4436 w 802"/>
                    <a:gd name="T93" fmla="*/ 1353 h 392"/>
                    <a:gd name="T94" fmla="*/ 4404 w 802"/>
                    <a:gd name="T95" fmla="*/ 1157 h 392"/>
                    <a:gd name="T96" fmla="*/ 4706 w 802"/>
                    <a:gd name="T97" fmla="*/ 1157 h 392"/>
                    <a:gd name="T98" fmla="*/ 4743 w 802"/>
                    <a:gd name="T99" fmla="*/ 916 h 392"/>
                    <a:gd name="T100" fmla="*/ 4743 w 802"/>
                    <a:gd name="T101" fmla="*/ 803 h 392"/>
                    <a:gd name="T102" fmla="*/ 4599 w 802"/>
                    <a:gd name="T103" fmla="*/ 425 h 392"/>
                    <a:gd name="T104" fmla="*/ 4497 w 802"/>
                    <a:gd name="T105" fmla="*/ 148 h 392"/>
                    <a:gd name="T106" fmla="*/ 4103 w 802"/>
                    <a:gd name="T107" fmla="*/ 197 h 392"/>
                    <a:gd name="T108" fmla="*/ 3838 w 802"/>
                    <a:gd name="T109" fmla="*/ 2 h 392"/>
                    <a:gd name="T110" fmla="*/ 3486 w 802"/>
                    <a:gd name="T111" fmla="*/ 0 h 392"/>
                    <a:gd name="T112" fmla="*/ 3384 w 802"/>
                    <a:gd name="T113" fmla="*/ 197 h 392"/>
                    <a:gd name="T114" fmla="*/ 3175 w 802"/>
                    <a:gd name="T115" fmla="*/ 337 h 392"/>
                    <a:gd name="T116" fmla="*/ 2924 w 802"/>
                    <a:gd name="T117" fmla="*/ 337 h 392"/>
                    <a:gd name="T118" fmla="*/ 2702 w 802"/>
                    <a:gd name="T119" fmla="*/ 211 h 39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802" h="392">
                      <a:moveTo>
                        <a:pt x="457" y="35"/>
                      </a:moveTo>
                      <a:lnTo>
                        <a:pt x="453" y="50"/>
                      </a:lnTo>
                      <a:lnTo>
                        <a:pt x="440" y="58"/>
                      </a:lnTo>
                      <a:lnTo>
                        <a:pt x="422" y="64"/>
                      </a:lnTo>
                      <a:lnTo>
                        <a:pt x="413" y="77"/>
                      </a:lnTo>
                      <a:lnTo>
                        <a:pt x="407" y="97"/>
                      </a:lnTo>
                      <a:lnTo>
                        <a:pt x="364" y="112"/>
                      </a:lnTo>
                      <a:lnTo>
                        <a:pt x="354" y="134"/>
                      </a:lnTo>
                      <a:lnTo>
                        <a:pt x="354" y="165"/>
                      </a:lnTo>
                      <a:lnTo>
                        <a:pt x="366" y="196"/>
                      </a:lnTo>
                      <a:lnTo>
                        <a:pt x="368" y="211"/>
                      </a:lnTo>
                      <a:lnTo>
                        <a:pt x="352" y="217"/>
                      </a:lnTo>
                      <a:lnTo>
                        <a:pt x="345" y="201"/>
                      </a:lnTo>
                      <a:lnTo>
                        <a:pt x="316" y="200"/>
                      </a:lnTo>
                      <a:lnTo>
                        <a:pt x="294" y="192"/>
                      </a:lnTo>
                      <a:lnTo>
                        <a:pt x="287" y="201"/>
                      </a:lnTo>
                      <a:lnTo>
                        <a:pt x="269" y="203"/>
                      </a:lnTo>
                      <a:lnTo>
                        <a:pt x="246" y="205"/>
                      </a:lnTo>
                      <a:lnTo>
                        <a:pt x="224" y="207"/>
                      </a:lnTo>
                      <a:lnTo>
                        <a:pt x="205" y="219"/>
                      </a:lnTo>
                      <a:lnTo>
                        <a:pt x="186" y="231"/>
                      </a:lnTo>
                      <a:lnTo>
                        <a:pt x="159" y="229"/>
                      </a:lnTo>
                      <a:lnTo>
                        <a:pt x="135" y="211"/>
                      </a:lnTo>
                      <a:lnTo>
                        <a:pt x="112" y="207"/>
                      </a:lnTo>
                      <a:lnTo>
                        <a:pt x="98" y="221"/>
                      </a:lnTo>
                      <a:lnTo>
                        <a:pt x="93" y="231"/>
                      </a:lnTo>
                      <a:lnTo>
                        <a:pt x="81" y="236"/>
                      </a:lnTo>
                      <a:lnTo>
                        <a:pt x="64" y="227"/>
                      </a:lnTo>
                      <a:lnTo>
                        <a:pt x="54" y="209"/>
                      </a:lnTo>
                      <a:lnTo>
                        <a:pt x="38" y="203"/>
                      </a:lnTo>
                      <a:lnTo>
                        <a:pt x="19" y="203"/>
                      </a:lnTo>
                      <a:lnTo>
                        <a:pt x="0" y="211"/>
                      </a:lnTo>
                      <a:lnTo>
                        <a:pt x="13" y="225"/>
                      </a:lnTo>
                      <a:lnTo>
                        <a:pt x="5" y="244"/>
                      </a:lnTo>
                      <a:lnTo>
                        <a:pt x="0" y="262"/>
                      </a:lnTo>
                      <a:lnTo>
                        <a:pt x="13" y="287"/>
                      </a:lnTo>
                      <a:lnTo>
                        <a:pt x="25" y="295"/>
                      </a:lnTo>
                      <a:lnTo>
                        <a:pt x="46" y="306"/>
                      </a:lnTo>
                      <a:lnTo>
                        <a:pt x="64" y="310"/>
                      </a:lnTo>
                      <a:lnTo>
                        <a:pt x="77" y="302"/>
                      </a:lnTo>
                      <a:lnTo>
                        <a:pt x="87" y="308"/>
                      </a:lnTo>
                      <a:lnTo>
                        <a:pt x="93" y="314"/>
                      </a:lnTo>
                      <a:lnTo>
                        <a:pt x="98" y="318"/>
                      </a:lnTo>
                      <a:lnTo>
                        <a:pt x="116" y="324"/>
                      </a:lnTo>
                      <a:lnTo>
                        <a:pt x="126" y="324"/>
                      </a:lnTo>
                      <a:lnTo>
                        <a:pt x="157" y="316"/>
                      </a:lnTo>
                      <a:lnTo>
                        <a:pt x="170" y="310"/>
                      </a:lnTo>
                      <a:lnTo>
                        <a:pt x="195" y="300"/>
                      </a:lnTo>
                      <a:lnTo>
                        <a:pt x="232" y="300"/>
                      </a:lnTo>
                      <a:lnTo>
                        <a:pt x="252" y="298"/>
                      </a:lnTo>
                      <a:lnTo>
                        <a:pt x="261" y="291"/>
                      </a:lnTo>
                      <a:lnTo>
                        <a:pt x="273" y="291"/>
                      </a:lnTo>
                      <a:lnTo>
                        <a:pt x="277" y="295"/>
                      </a:lnTo>
                      <a:lnTo>
                        <a:pt x="275" y="302"/>
                      </a:lnTo>
                      <a:lnTo>
                        <a:pt x="279" y="320"/>
                      </a:lnTo>
                      <a:lnTo>
                        <a:pt x="287" y="333"/>
                      </a:lnTo>
                      <a:lnTo>
                        <a:pt x="294" y="341"/>
                      </a:lnTo>
                      <a:lnTo>
                        <a:pt x="308" y="349"/>
                      </a:lnTo>
                      <a:lnTo>
                        <a:pt x="318" y="351"/>
                      </a:lnTo>
                      <a:lnTo>
                        <a:pt x="335" y="366"/>
                      </a:lnTo>
                      <a:lnTo>
                        <a:pt x="354" y="368"/>
                      </a:lnTo>
                      <a:lnTo>
                        <a:pt x="372" y="372"/>
                      </a:lnTo>
                      <a:lnTo>
                        <a:pt x="395" y="374"/>
                      </a:lnTo>
                      <a:lnTo>
                        <a:pt x="413" y="378"/>
                      </a:lnTo>
                      <a:lnTo>
                        <a:pt x="422" y="384"/>
                      </a:lnTo>
                      <a:lnTo>
                        <a:pt x="438" y="386"/>
                      </a:lnTo>
                      <a:lnTo>
                        <a:pt x="471" y="386"/>
                      </a:lnTo>
                      <a:lnTo>
                        <a:pt x="502" y="390"/>
                      </a:lnTo>
                      <a:lnTo>
                        <a:pt x="513" y="392"/>
                      </a:lnTo>
                      <a:lnTo>
                        <a:pt x="527" y="392"/>
                      </a:lnTo>
                      <a:lnTo>
                        <a:pt x="533" y="390"/>
                      </a:lnTo>
                      <a:lnTo>
                        <a:pt x="544" y="382"/>
                      </a:lnTo>
                      <a:lnTo>
                        <a:pt x="552" y="370"/>
                      </a:lnTo>
                      <a:lnTo>
                        <a:pt x="562" y="362"/>
                      </a:lnTo>
                      <a:lnTo>
                        <a:pt x="577" y="357"/>
                      </a:lnTo>
                      <a:lnTo>
                        <a:pt x="587" y="355"/>
                      </a:lnTo>
                      <a:lnTo>
                        <a:pt x="605" y="359"/>
                      </a:lnTo>
                      <a:lnTo>
                        <a:pt x="614" y="361"/>
                      </a:lnTo>
                      <a:lnTo>
                        <a:pt x="624" y="362"/>
                      </a:lnTo>
                      <a:lnTo>
                        <a:pt x="636" y="347"/>
                      </a:lnTo>
                      <a:lnTo>
                        <a:pt x="641" y="345"/>
                      </a:lnTo>
                      <a:lnTo>
                        <a:pt x="661" y="347"/>
                      </a:lnTo>
                      <a:lnTo>
                        <a:pt x="672" y="349"/>
                      </a:lnTo>
                      <a:lnTo>
                        <a:pt x="676" y="349"/>
                      </a:lnTo>
                      <a:lnTo>
                        <a:pt x="680" y="341"/>
                      </a:lnTo>
                      <a:lnTo>
                        <a:pt x="680" y="333"/>
                      </a:lnTo>
                      <a:lnTo>
                        <a:pt x="696" y="326"/>
                      </a:lnTo>
                      <a:lnTo>
                        <a:pt x="700" y="320"/>
                      </a:lnTo>
                      <a:lnTo>
                        <a:pt x="715" y="304"/>
                      </a:lnTo>
                      <a:lnTo>
                        <a:pt x="738" y="298"/>
                      </a:lnTo>
                      <a:lnTo>
                        <a:pt x="735" y="277"/>
                      </a:lnTo>
                      <a:lnTo>
                        <a:pt x="735" y="260"/>
                      </a:lnTo>
                      <a:lnTo>
                        <a:pt x="738" y="250"/>
                      </a:lnTo>
                      <a:lnTo>
                        <a:pt x="750" y="225"/>
                      </a:lnTo>
                      <a:lnTo>
                        <a:pt x="738" y="207"/>
                      </a:lnTo>
                      <a:lnTo>
                        <a:pt x="744" y="192"/>
                      </a:lnTo>
                      <a:lnTo>
                        <a:pt x="766" y="192"/>
                      </a:lnTo>
                      <a:lnTo>
                        <a:pt x="795" y="192"/>
                      </a:lnTo>
                      <a:lnTo>
                        <a:pt x="802" y="174"/>
                      </a:lnTo>
                      <a:lnTo>
                        <a:pt x="802" y="153"/>
                      </a:lnTo>
                      <a:lnTo>
                        <a:pt x="802" y="137"/>
                      </a:lnTo>
                      <a:lnTo>
                        <a:pt x="802" y="134"/>
                      </a:lnTo>
                      <a:lnTo>
                        <a:pt x="789" y="112"/>
                      </a:lnTo>
                      <a:lnTo>
                        <a:pt x="777" y="70"/>
                      </a:lnTo>
                      <a:lnTo>
                        <a:pt x="775" y="44"/>
                      </a:lnTo>
                      <a:lnTo>
                        <a:pt x="760" y="25"/>
                      </a:lnTo>
                      <a:lnTo>
                        <a:pt x="723" y="29"/>
                      </a:lnTo>
                      <a:lnTo>
                        <a:pt x="694" y="33"/>
                      </a:lnTo>
                      <a:lnTo>
                        <a:pt x="667" y="9"/>
                      </a:lnTo>
                      <a:lnTo>
                        <a:pt x="649" y="2"/>
                      </a:lnTo>
                      <a:lnTo>
                        <a:pt x="618" y="2"/>
                      </a:lnTo>
                      <a:lnTo>
                        <a:pt x="589" y="0"/>
                      </a:lnTo>
                      <a:lnTo>
                        <a:pt x="577" y="17"/>
                      </a:lnTo>
                      <a:lnTo>
                        <a:pt x="572" y="33"/>
                      </a:lnTo>
                      <a:lnTo>
                        <a:pt x="552" y="48"/>
                      </a:lnTo>
                      <a:lnTo>
                        <a:pt x="537" y="56"/>
                      </a:lnTo>
                      <a:lnTo>
                        <a:pt x="515" y="58"/>
                      </a:lnTo>
                      <a:lnTo>
                        <a:pt x="494" y="56"/>
                      </a:lnTo>
                      <a:lnTo>
                        <a:pt x="480" y="44"/>
                      </a:lnTo>
                      <a:lnTo>
                        <a:pt x="457" y="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7" name="Freeform 17"/>
                <p:cNvSpPr>
                  <a:spLocks/>
                </p:cNvSpPr>
                <p:nvPr/>
              </p:nvSpPr>
              <p:spPr bwMode="gray">
                <a:xfrm>
                  <a:off x="2717121" y="1907998"/>
                  <a:ext cx="407572" cy="383037"/>
                </a:xfrm>
                <a:custGeom>
                  <a:avLst/>
                  <a:gdLst>
                    <a:gd name="T0" fmla="*/ 1266 w 322"/>
                    <a:gd name="T1" fmla="*/ 91 h 301"/>
                    <a:gd name="T2" fmla="*/ 1183 w 322"/>
                    <a:gd name="T3" fmla="*/ 2 h 301"/>
                    <a:gd name="T4" fmla="*/ 956 w 322"/>
                    <a:gd name="T5" fmla="*/ 35 h 301"/>
                    <a:gd name="T6" fmla="*/ 656 w 322"/>
                    <a:gd name="T7" fmla="*/ 124 h 301"/>
                    <a:gd name="T8" fmla="*/ 499 w 322"/>
                    <a:gd name="T9" fmla="*/ 35 h 301"/>
                    <a:gd name="T10" fmla="*/ 448 w 322"/>
                    <a:gd name="T11" fmla="*/ 0 h 301"/>
                    <a:gd name="T12" fmla="*/ 280 w 322"/>
                    <a:gd name="T13" fmla="*/ 24 h 301"/>
                    <a:gd name="T14" fmla="*/ 30 w 322"/>
                    <a:gd name="T15" fmla="*/ 148 h 301"/>
                    <a:gd name="T16" fmla="*/ 2 w 322"/>
                    <a:gd name="T17" fmla="*/ 429 h 301"/>
                    <a:gd name="T18" fmla="*/ 214 w 322"/>
                    <a:gd name="T19" fmla="*/ 493 h 301"/>
                    <a:gd name="T20" fmla="*/ 280 w 322"/>
                    <a:gd name="T21" fmla="*/ 714 h 301"/>
                    <a:gd name="T22" fmla="*/ 445 w 322"/>
                    <a:gd name="T23" fmla="*/ 806 h 301"/>
                    <a:gd name="T24" fmla="*/ 499 w 322"/>
                    <a:gd name="T25" fmla="*/ 869 h 301"/>
                    <a:gd name="T26" fmla="*/ 671 w 322"/>
                    <a:gd name="T27" fmla="*/ 1004 h 301"/>
                    <a:gd name="T28" fmla="*/ 679 w 322"/>
                    <a:gd name="T29" fmla="*/ 1268 h 301"/>
                    <a:gd name="T30" fmla="*/ 868 w 322"/>
                    <a:gd name="T31" fmla="*/ 1347 h 301"/>
                    <a:gd name="T32" fmla="*/ 1000 w 322"/>
                    <a:gd name="T33" fmla="*/ 1197 h 301"/>
                    <a:gd name="T34" fmla="*/ 1059 w 322"/>
                    <a:gd name="T35" fmla="*/ 1273 h 301"/>
                    <a:gd name="T36" fmla="*/ 1032 w 322"/>
                    <a:gd name="T37" fmla="*/ 1453 h 301"/>
                    <a:gd name="T38" fmla="*/ 1059 w 322"/>
                    <a:gd name="T39" fmla="*/ 1479 h 301"/>
                    <a:gd name="T40" fmla="*/ 1150 w 322"/>
                    <a:gd name="T41" fmla="*/ 1626 h 301"/>
                    <a:gd name="T42" fmla="*/ 1307 w 322"/>
                    <a:gd name="T43" fmla="*/ 1751 h 301"/>
                    <a:gd name="T44" fmla="*/ 1415 w 322"/>
                    <a:gd name="T45" fmla="*/ 1751 h 301"/>
                    <a:gd name="T46" fmla="*/ 1390 w 322"/>
                    <a:gd name="T47" fmla="*/ 1446 h 301"/>
                    <a:gd name="T48" fmla="*/ 1580 w 322"/>
                    <a:gd name="T49" fmla="*/ 1250 h 301"/>
                    <a:gd name="T50" fmla="*/ 1649 w 322"/>
                    <a:gd name="T51" fmla="*/ 1268 h 301"/>
                    <a:gd name="T52" fmla="*/ 1776 w 322"/>
                    <a:gd name="T53" fmla="*/ 1019 h 301"/>
                    <a:gd name="T54" fmla="*/ 1740 w 322"/>
                    <a:gd name="T55" fmla="*/ 827 h 301"/>
                    <a:gd name="T56" fmla="*/ 1692 w 322"/>
                    <a:gd name="T57" fmla="*/ 731 h 301"/>
                    <a:gd name="T58" fmla="*/ 1513 w 322"/>
                    <a:gd name="T59" fmla="*/ 642 h 301"/>
                    <a:gd name="T60" fmla="*/ 1532 w 322"/>
                    <a:gd name="T61" fmla="*/ 429 h 301"/>
                    <a:gd name="T62" fmla="*/ 1471 w 322"/>
                    <a:gd name="T63" fmla="*/ 252 h 301"/>
                    <a:gd name="T64" fmla="*/ 1307 w 322"/>
                    <a:gd name="T65" fmla="*/ 175 h 30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322" h="301">
                      <a:moveTo>
                        <a:pt x="237" y="17"/>
                      </a:moveTo>
                      <a:lnTo>
                        <a:pt x="229" y="16"/>
                      </a:lnTo>
                      <a:lnTo>
                        <a:pt x="221" y="6"/>
                      </a:lnTo>
                      <a:lnTo>
                        <a:pt x="214" y="2"/>
                      </a:lnTo>
                      <a:lnTo>
                        <a:pt x="194" y="2"/>
                      </a:lnTo>
                      <a:lnTo>
                        <a:pt x="173" y="6"/>
                      </a:lnTo>
                      <a:lnTo>
                        <a:pt x="146" y="17"/>
                      </a:lnTo>
                      <a:lnTo>
                        <a:pt x="119" y="21"/>
                      </a:lnTo>
                      <a:lnTo>
                        <a:pt x="109" y="21"/>
                      </a:lnTo>
                      <a:lnTo>
                        <a:pt x="90" y="6"/>
                      </a:lnTo>
                      <a:lnTo>
                        <a:pt x="82" y="2"/>
                      </a:lnTo>
                      <a:lnTo>
                        <a:pt x="82" y="0"/>
                      </a:lnTo>
                      <a:lnTo>
                        <a:pt x="70" y="0"/>
                      </a:lnTo>
                      <a:lnTo>
                        <a:pt x="51" y="4"/>
                      </a:lnTo>
                      <a:lnTo>
                        <a:pt x="6" y="19"/>
                      </a:lnTo>
                      <a:lnTo>
                        <a:pt x="6" y="25"/>
                      </a:lnTo>
                      <a:lnTo>
                        <a:pt x="0" y="56"/>
                      </a:lnTo>
                      <a:lnTo>
                        <a:pt x="2" y="74"/>
                      </a:lnTo>
                      <a:lnTo>
                        <a:pt x="20" y="85"/>
                      </a:lnTo>
                      <a:lnTo>
                        <a:pt x="39" y="85"/>
                      </a:lnTo>
                      <a:lnTo>
                        <a:pt x="45" y="107"/>
                      </a:lnTo>
                      <a:lnTo>
                        <a:pt x="51" y="122"/>
                      </a:lnTo>
                      <a:lnTo>
                        <a:pt x="68" y="130"/>
                      </a:lnTo>
                      <a:lnTo>
                        <a:pt x="80" y="138"/>
                      </a:lnTo>
                      <a:lnTo>
                        <a:pt x="80" y="142"/>
                      </a:lnTo>
                      <a:lnTo>
                        <a:pt x="90" y="149"/>
                      </a:lnTo>
                      <a:lnTo>
                        <a:pt x="111" y="161"/>
                      </a:lnTo>
                      <a:lnTo>
                        <a:pt x="121" y="173"/>
                      </a:lnTo>
                      <a:lnTo>
                        <a:pt x="123" y="186"/>
                      </a:lnTo>
                      <a:lnTo>
                        <a:pt x="123" y="217"/>
                      </a:lnTo>
                      <a:lnTo>
                        <a:pt x="138" y="227"/>
                      </a:lnTo>
                      <a:lnTo>
                        <a:pt x="157" y="231"/>
                      </a:lnTo>
                      <a:lnTo>
                        <a:pt x="167" y="217"/>
                      </a:lnTo>
                      <a:lnTo>
                        <a:pt x="181" y="206"/>
                      </a:lnTo>
                      <a:lnTo>
                        <a:pt x="192" y="206"/>
                      </a:lnTo>
                      <a:lnTo>
                        <a:pt x="192" y="219"/>
                      </a:lnTo>
                      <a:lnTo>
                        <a:pt x="188" y="239"/>
                      </a:lnTo>
                      <a:lnTo>
                        <a:pt x="187" y="250"/>
                      </a:lnTo>
                      <a:lnTo>
                        <a:pt x="192" y="254"/>
                      </a:lnTo>
                      <a:lnTo>
                        <a:pt x="188" y="264"/>
                      </a:lnTo>
                      <a:lnTo>
                        <a:pt x="208" y="279"/>
                      </a:lnTo>
                      <a:lnTo>
                        <a:pt x="220" y="293"/>
                      </a:lnTo>
                      <a:lnTo>
                        <a:pt x="237" y="301"/>
                      </a:lnTo>
                      <a:lnTo>
                        <a:pt x="254" y="301"/>
                      </a:lnTo>
                      <a:lnTo>
                        <a:pt x="256" y="301"/>
                      </a:lnTo>
                      <a:lnTo>
                        <a:pt x="258" y="272"/>
                      </a:lnTo>
                      <a:lnTo>
                        <a:pt x="252" y="248"/>
                      </a:lnTo>
                      <a:lnTo>
                        <a:pt x="266" y="227"/>
                      </a:lnTo>
                      <a:lnTo>
                        <a:pt x="287" y="215"/>
                      </a:lnTo>
                      <a:lnTo>
                        <a:pt x="299" y="215"/>
                      </a:lnTo>
                      <a:lnTo>
                        <a:pt x="299" y="217"/>
                      </a:lnTo>
                      <a:lnTo>
                        <a:pt x="320" y="190"/>
                      </a:lnTo>
                      <a:lnTo>
                        <a:pt x="322" y="175"/>
                      </a:lnTo>
                      <a:lnTo>
                        <a:pt x="316" y="157"/>
                      </a:lnTo>
                      <a:lnTo>
                        <a:pt x="315" y="142"/>
                      </a:lnTo>
                      <a:lnTo>
                        <a:pt x="315" y="138"/>
                      </a:lnTo>
                      <a:lnTo>
                        <a:pt x="307" y="126"/>
                      </a:lnTo>
                      <a:lnTo>
                        <a:pt x="287" y="122"/>
                      </a:lnTo>
                      <a:lnTo>
                        <a:pt x="274" y="111"/>
                      </a:lnTo>
                      <a:lnTo>
                        <a:pt x="274" y="91"/>
                      </a:lnTo>
                      <a:lnTo>
                        <a:pt x="278" y="74"/>
                      </a:lnTo>
                      <a:lnTo>
                        <a:pt x="280" y="56"/>
                      </a:lnTo>
                      <a:lnTo>
                        <a:pt x="266" y="43"/>
                      </a:lnTo>
                      <a:lnTo>
                        <a:pt x="251" y="39"/>
                      </a:lnTo>
                      <a:lnTo>
                        <a:pt x="237" y="29"/>
                      </a:lnTo>
                      <a:lnTo>
                        <a:pt x="237" y="17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8" name="Freeform 18"/>
                <p:cNvSpPr>
                  <a:spLocks/>
                </p:cNvSpPr>
                <p:nvPr/>
              </p:nvSpPr>
              <p:spPr bwMode="gray">
                <a:xfrm>
                  <a:off x="5290586" y="3298242"/>
                  <a:ext cx="904767" cy="628437"/>
                </a:xfrm>
                <a:custGeom>
                  <a:avLst/>
                  <a:gdLst>
                    <a:gd name="T0" fmla="*/ 3866 w 712"/>
                    <a:gd name="T1" fmla="*/ 192 h 494"/>
                    <a:gd name="T2" fmla="*/ 3240 w 712"/>
                    <a:gd name="T3" fmla="*/ 60 h 494"/>
                    <a:gd name="T4" fmla="*/ 2926 w 712"/>
                    <a:gd name="T5" fmla="*/ 35 h 494"/>
                    <a:gd name="T6" fmla="*/ 2405 w 712"/>
                    <a:gd name="T7" fmla="*/ 337 h 494"/>
                    <a:gd name="T8" fmla="*/ 2028 w 712"/>
                    <a:gd name="T9" fmla="*/ 600 h 494"/>
                    <a:gd name="T10" fmla="*/ 1507 w 712"/>
                    <a:gd name="T11" fmla="*/ 587 h 494"/>
                    <a:gd name="T12" fmla="*/ 592 w 712"/>
                    <a:gd name="T13" fmla="*/ 653 h 494"/>
                    <a:gd name="T14" fmla="*/ 303 w 712"/>
                    <a:gd name="T15" fmla="*/ 587 h 494"/>
                    <a:gd name="T16" fmla="*/ 211 w 712"/>
                    <a:gd name="T17" fmla="*/ 376 h 494"/>
                    <a:gd name="T18" fmla="*/ 0 w 712"/>
                    <a:gd name="T19" fmla="*/ 744 h 494"/>
                    <a:gd name="T20" fmla="*/ 188 w 712"/>
                    <a:gd name="T21" fmla="*/ 1147 h 494"/>
                    <a:gd name="T22" fmla="*/ 273 w 712"/>
                    <a:gd name="T23" fmla="*/ 1483 h 494"/>
                    <a:gd name="T24" fmla="*/ 170 w 712"/>
                    <a:gd name="T25" fmla="*/ 2017 h 494"/>
                    <a:gd name="T26" fmla="*/ 481 w 712"/>
                    <a:gd name="T27" fmla="*/ 2299 h 494"/>
                    <a:gd name="T28" fmla="*/ 629 w 712"/>
                    <a:gd name="T29" fmla="*/ 2868 h 494"/>
                    <a:gd name="T30" fmla="*/ 788 w 712"/>
                    <a:gd name="T31" fmla="*/ 2839 h 494"/>
                    <a:gd name="T32" fmla="*/ 1267 w 712"/>
                    <a:gd name="T33" fmla="*/ 2735 h 494"/>
                    <a:gd name="T34" fmla="*/ 1626 w 712"/>
                    <a:gd name="T35" fmla="*/ 2555 h 494"/>
                    <a:gd name="T36" fmla="*/ 1903 w 712"/>
                    <a:gd name="T37" fmla="*/ 2634 h 494"/>
                    <a:gd name="T38" fmla="*/ 2371 w 712"/>
                    <a:gd name="T39" fmla="*/ 2714 h 494"/>
                    <a:gd name="T40" fmla="*/ 2761 w 712"/>
                    <a:gd name="T41" fmla="*/ 2456 h 494"/>
                    <a:gd name="T42" fmla="*/ 2876 w 712"/>
                    <a:gd name="T43" fmla="*/ 2171 h 494"/>
                    <a:gd name="T44" fmla="*/ 2973 w 712"/>
                    <a:gd name="T45" fmla="*/ 2078 h 494"/>
                    <a:gd name="T46" fmla="*/ 3363 w 712"/>
                    <a:gd name="T47" fmla="*/ 1878 h 494"/>
                    <a:gd name="T48" fmla="*/ 3879 w 712"/>
                    <a:gd name="T49" fmla="*/ 1858 h 494"/>
                    <a:gd name="T50" fmla="*/ 3961 w 712"/>
                    <a:gd name="T51" fmla="*/ 1788 h 494"/>
                    <a:gd name="T52" fmla="*/ 3793 w 712"/>
                    <a:gd name="T53" fmla="*/ 1631 h 494"/>
                    <a:gd name="T54" fmla="*/ 3664 w 712"/>
                    <a:gd name="T55" fmla="*/ 1449 h 494"/>
                    <a:gd name="T56" fmla="*/ 3556 w 712"/>
                    <a:gd name="T57" fmla="*/ 1387 h 494"/>
                    <a:gd name="T58" fmla="*/ 3664 w 712"/>
                    <a:gd name="T59" fmla="*/ 1261 h 494"/>
                    <a:gd name="T60" fmla="*/ 3779 w 712"/>
                    <a:gd name="T61" fmla="*/ 1124 h 494"/>
                    <a:gd name="T62" fmla="*/ 3722 w 712"/>
                    <a:gd name="T63" fmla="*/ 779 h 494"/>
                    <a:gd name="T64" fmla="*/ 4041 w 712"/>
                    <a:gd name="T65" fmla="*/ 475 h 494"/>
                    <a:gd name="T66" fmla="*/ 4079 w 712"/>
                    <a:gd name="T67" fmla="*/ 130 h 49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712" h="494">
                      <a:moveTo>
                        <a:pt x="710" y="23"/>
                      </a:moveTo>
                      <a:lnTo>
                        <a:pt x="673" y="33"/>
                      </a:lnTo>
                      <a:lnTo>
                        <a:pt x="627" y="13"/>
                      </a:lnTo>
                      <a:lnTo>
                        <a:pt x="564" y="10"/>
                      </a:lnTo>
                      <a:lnTo>
                        <a:pt x="549" y="0"/>
                      </a:lnTo>
                      <a:lnTo>
                        <a:pt x="510" y="6"/>
                      </a:lnTo>
                      <a:lnTo>
                        <a:pt x="462" y="29"/>
                      </a:lnTo>
                      <a:lnTo>
                        <a:pt x="419" y="58"/>
                      </a:lnTo>
                      <a:lnTo>
                        <a:pt x="386" y="89"/>
                      </a:lnTo>
                      <a:lnTo>
                        <a:pt x="353" y="103"/>
                      </a:lnTo>
                      <a:lnTo>
                        <a:pt x="301" y="103"/>
                      </a:lnTo>
                      <a:lnTo>
                        <a:pt x="262" y="101"/>
                      </a:lnTo>
                      <a:lnTo>
                        <a:pt x="177" y="112"/>
                      </a:lnTo>
                      <a:lnTo>
                        <a:pt x="103" y="112"/>
                      </a:lnTo>
                      <a:lnTo>
                        <a:pt x="76" y="116"/>
                      </a:lnTo>
                      <a:lnTo>
                        <a:pt x="53" y="101"/>
                      </a:lnTo>
                      <a:lnTo>
                        <a:pt x="62" y="70"/>
                      </a:lnTo>
                      <a:lnTo>
                        <a:pt x="37" y="64"/>
                      </a:lnTo>
                      <a:lnTo>
                        <a:pt x="2" y="83"/>
                      </a:lnTo>
                      <a:lnTo>
                        <a:pt x="0" y="128"/>
                      </a:lnTo>
                      <a:lnTo>
                        <a:pt x="12" y="171"/>
                      </a:lnTo>
                      <a:lnTo>
                        <a:pt x="33" y="198"/>
                      </a:lnTo>
                      <a:lnTo>
                        <a:pt x="66" y="229"/>
                      </a:lnTo>
                      <a:lnTo>
                        <a:pt x="47" y="256"/>
                      </a:lnTo>
                      <a:lnTo>
                        <a:pt x="25" y="310"/>
                      </a:lnTo>
                      <a:lnTo>
                        <a:pt x="29" y="347"/>
                      </a:lnTo>
                      <a:lnTo>
                        <a:pt x="31" y="363"/>
                      </a:lnTo>
                      <a:lnTo>
                        <a:pt x="84" y="396"/>
                      </a:lnTo>
                      <a:lnTo>
                        <a:pt x="103" y="458"/>
                      </a:lnTo>
                      <a:lnTo>
                        <a:pt x="109" y="494"/>
                      </a:lnTo>
                      <a:lnTo>
                        <a:pt x="115" y="494"/>
                      </a:lnTo>
                      <a:lnTo>
                        <a:pt x="138" y="489"/>
                      </a:lnTo>
                      <a:lnTo>
                        <a:pt x="171" y="475"/>
                      </a:lnTo>
                      <a:lnTo>
                        <a:pt x="221" y="471"/>
                      </a:lnTo>
                      <a:lnTo>
                        <a:pt x="262" y="450"/>
                      </a:lnTo>
                      <a:lnTo>
                        <a:pt x="283" y="440"/>
                      </a:lnTo>
                      <a:lnTo>
                        <a:pt x="308" y="438"/>
                      </a:lnTo>
                      <a:lnTo>
                        <a:pt x="332" y="454"/>
                      </a:lnTo>
                      <a:lnTo>
                        <a:pt x="369" y="460"/>
                      </a:lnTo>
                      <a:lnTo>
                        <a:pt x="413" y="467"/>
                      </a:lnTo>
                      <a:lnTo>
                        <a:pt x="454" y="454"/>
                      </a:lnTo>
                      <a:lnTo>
                        <a:pt x="481" y="423"/>
                      </a:lnTo>
                      <a:lnTo>
                        <a:pt x="477" y="380"/>
                      </a:lnTo>
                      <a:lnTo>
                        <a:pt x="500" y="374"/>
                      </a:lnTo>
                      <a:lnTo>
                        <a:pt x="508" y="368"/>
                      </a:lnTo>
                      <a:lnTo>
                        <a:pt x="518" y="357"/>
                      </a:lnTo>
                      <a:lnTo>
                        <a:pt x="545" y="347"/>
                      </a:lnTo>
                      <a:lnTo>
                        <a:pt x="586" y="324"/>
                      </a:lnTo>
                      <a:lnTo>
                        <a:pt x="628" y="335"/>
                      </a:lnTo>
                      <a:lnTo>
                        <a:pt x="675" y="320"/>
                      </a:lnTo>
                      <a:lnTo>
                        <a:pt x="692" y="320"/>
                      </a:lnTo>
                      <a:lnTo>
                        <a:pt x="689" y="308"/>
                      </a:lnTo>
                      <a:lnTo>
                        <a:pt x="673" y="295"/>
                      </a:lnTo>
                      <a:lnTo>
                        <a:pt x="661" y="281"/>
                      </a:lnTo>
                      <a:lnTo>
                        <a:pt x="648" y="262"/>
                      </a:lnTo>
                      <a:lnTo>
                        <a:pt x="638" y="250"/>
                      </a:lnTo>
                      <a:lnTo>
                        <a:pt x="627" y="246"/>
                      </a:lnTo>
                      <a:lnTo>
                        <a:pt x="619" y="238"/>
                      </a:lnTo>
                      <a:lnTo>
                        <a:pt x="630" y="227"/>
                      </a:lnTo>
                      <a:lnTo>
                        <a:pt x="638" y="217"/>
                      </a:lnTo>
                      <a:lnTo>
                        <a:pt x="642" y="204"/>
                      </a:lnTo>
                      <a:lnTo>
                        <a:pt x="658" y="194"/>
                      </a:lnTo>
                      <a:lnTo>
                        <a:pt x="654" y="159"/>
                      </a:lnTo>
                      <a:lnTo>
                        <a:pt x="648" y="134"/>
                      </a:lnTo>
                      <a:lnTo>
                        <a:pt x="667" y="99"/>
                      </a:lnTo>
                      <a:lnTo>
                        <a:pt x="704" y="81"/>
                      </a:lnTo>
                      <a:lnTo>
                        <a:pt x="712" y="56"/>
                      </a:lnTo>
                      <a:lnTo>
                        <a:pt x="710" y="2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49" name="Freeform 19"/>
                <p:cNvSpPr>
                  <a:spLocks/>
                </p:cNvSpPr>
                <p:nvPr/>
              </p:nvSpPr>
              <p:spPr bwMode="gray">
                <a:xfrm>
                  <a:off x="1668316" y="1938940"/>
                  <a:ext cx="1652694" cy="1708197"/>
                </a:xfrm>
                <a:custGeom>
                  <a:avLst/>
                  <a:gdLst>
                    <a:gd name="T0" fmla="*/ 5010 w 1299"/>
                    <a:gd name="T1" fmla="*/ 354 h 1342"/>
                    <a:gd name="T2" fmla="*/ 5244 w 1299"/>
                    <a:gd name="T3" fmla="*/ 685 h 1342"/>
                    <a:gd name="T4" fmla="*/ 5497 w 1299"/>
                    <a:gd name="T5" fmla="*/ 1123 h 1342"/>
                    <a:gd name="T6" fmla="*/ 5897 w 1299"/>
                    <a:gd name="T7" fmla="*/ 1059 h 1342"/>
                    <a:gd name="T8" fmla="*/ 5897 w 1299"/>
                    <a:gd name="T9" fmla="*/ 1340 h 1342"/>
                    <a:gd name="T10" fmla="*/ 6253 w 1299"/>
                    <a:gd name="T11" fmla="*/ 1609 h 1342"/>
                    <a:gd name="T12" fmla="*/ 6681 w 1299"/>
                    <a:gd name="T13" fmla="*/ 1817 h 1342"/>
                    <a:gd name="T14" fmla="*/ 7262 w 1299"/>
                    <a:gd name="T15" fmla="*/ 2176 h 1342"/>
                    <a:gd name="T16" fmla="*/ 7305 w 1299"/>
                    <a:gd name="T17" fmla="*/ 2672 h 1342"/>
                    <a:gd name="T18" fmla="*/ 7101 w 1299"/>
                    <a:gd name="T19" fmla="*/ 3481 h 1342"/>
                    <a:gd name="T20" fmla="*/ 6767 w 1299"/>
                    <a:gd name="T21" fmla="*/ 3569 h 1342"/>
                    <a:gd name="T22" fmla="*/ 6517 w 1299"/>
                    <a:gd name="T23" fmla="*/ 3896 h 1342"/>
                    <a:gd name="T24" fmla="*/ 6227 w 1299"/>
                    <a:gd name="T25" fmla="*/ 4211 h 1342"/>
                    <a:gd name="T26" fmla="*/ 6048 w 1299"/>
                    <a:gd name="T27" fmla="*/ 4567 h 1342"/>
                    <a:gd name="T28" fmla="*/ 6283 w 1299"/>
                    <a:gd name="T29" fmla="*/ 4514 h 1342"/>
                    <a:gd name="T30" fmla="*/ 6494 w 1299"/>
                    <a:gd name="T31" fmla="*/ 4761 h 1342"/>
                    <a:gd name="T32" fmla="*/ 6610 w 1299"/>
                    <a:gd name="T33" fmla="*/ 5056 h 1342"/>
                    <a:gd name="T34" fmla="*/ 6502 w 1299"/>
                    <a:gd name="T35" fmla="*/ 5244 h 1342"/>
                    <a:gd name="T36" fmla="*/ 6378 w 1299"/>
                    <a:gd name="T37" fmla="*/ 5737 h 1342"/>
                    <a:gd name="T38" fmla="*/ 6460 w 1299"/>
                    <a:gd name="T39" fmla="*/ 5990 h 1342"/>
                    <a:gd name="T40" fmla="*/ 6494 w 1299"/>
                    <a:gd name="T41" fmla="*/ 6561 h 1342"/>
                    <a:gd name="T42" fmla="*/ 6799 w 1299"/>
                    <a:gd name="T43" fmla="*/ 6822 h 1342"/>
                    <a:gd name="T44" fmla="*/ 6494 w 1299"/>
                    <a:gd name="T45" fmla="*/ 7103 h 1342"/>
                    <a:gd name="T46" fmla="*/ 6159 w 1299"/>
                    <a:gd name="T47" fmla="*/ 7320 h 1342"/>
                    <a:gd name="T48" fmla="*/ 5798 w 1299"/>
                    <a:gd name="T49" fmla="*/ 7508 h 1342"/>
                    <a:gd name="T50" fmla="*/ 5547 w 1299"/>
                    <a:gd name="T51" fmla="*/ 7399 h 1342"/>
                    <a:gd name="T52" fmla="*/ 5315 w 1299"/>
                    <a:gd name="T53" fmla="*/ 7234 h 1342"/>
                    <a:gd name="T54" fmla="*/ 5126 w 1299"/>
                    <a:gd name="T55" fmla="*/ 7146 h 1342"/>
                    <a:gd name="T56" fmla="*/ 4804 w 1299"/>
                    <a:gd name="T57" fmla="*/ 7103 h 1342"/>
                    <a:gd name="T58" fmla="*/ 4465 w 1299"/>
                    <a:gd name="T59" fmla="*/ 6925 h 1342"/>
                    <a:gd name="T60" fmla="*/ 3873 w 1299"/>
                    <a:gd name="T61" fmla="*/ 7146 h 1342"/>
                    <a:gd name="T62" fmla="*/ 3734 w 1299"/>
                    <a:gd name="T63" fmla="*/ 7839 h 1342"/>
                    <a:gd name="T64" fmla="*/ 2963 w 1299"/>
                    <a:gd name="T65" fmla="*/ 7752 h 1342"/>
                    <a:gd name="T66" fmla="*/ 2616 w 1299"/>
                    <a:gd name="T67" fmla="*/ 7479 h 1342"/>
                    <a:gd name="T68" fmla="*/ 2052 w 1299"/>
                    <a:gd name="T69" fmla="*/ 7304 h 1342"/>
                    <a:gd name="T70" fmla="*/ 1216 w 1299"/>
                    <a:gd name="T71" fmla="*/ 6873 h 1342"/>
                    <a:gd name="T72" fmla="*/ 744 w 1299"/>
                    <a:gd name="T73" fmla="*/ 6447 h 1342"/>
                    <a:gd name="T74" fmla="*/ 1003 w 1299"/>
                    <a:gd name="T75" fmla="*/ 6170 h 1342"/>
                    <a:gd name="T76" fmla="*/ 1450 w 1299"/>
                    <a:gd name="T77" fmla="*/ 5293 h 1342"/>
                    <a:gd name="T78" fmla="*/ 1579 w 1299"/>
                    <a:gd name="T79" fmla="*/ 4611 h 1342"/>
                    <a:gd name="T80" fmla="*/ 1778 w 1299"/>
                    <a:gd name="T81" fmla="*/ 4656 h 1342"/>
                    <a:gd name="T82" fmla="*/ 1724 w 1299"/>
                    <a:gd name="T83" fmla="*/ 4048 h 1342"/>
                    <a:gd name="T84" fmla="*/ 1598 w 1299"/>
                    <a:gd name="T85" fmla="*/ 3777 h 1342"/>
                    <a:gd name="T86" fmla="*/ 1299 w 1299"/>
                    <a:gd name="T87" fmla="*/ 3107 h 1342"/>
                    <a:gd name="T88" fmla="*/ 1237 w 1299"/>
                    <a:gd name="T89" fmla="*/ 2782 h 1342"/>
                    <a:gd name="T90" fmla="*/ 960 w 1299"/>
                    <a:gd name="T91" fmla="*/ 2491 h 1342"/>
                    <a:gd name="T92" fmla="*/ 744 w 1299"/>
                    <a:gd name="T93" fmla="*/ 2366 h 1342"/>
                    <a:gd name="T94" fmla="*/ 360 w 1299"/>
                    <a:gd name="T95" fmla="*/ 2016 h 1342"/>
                    <a:gd name="T96" fmla="*/ 86 w 1299"/>
                    <a:gd name="T97" fmla="*/ 1731 h 1342"/>
                    <a:gd name="T98" fmla="*/ 148 w 1299"/>
                    <a:gd name="T99" fmla="*/ 1543 h 1342"/>
                    <a:gd name="T100" fmla="*/ 104 w 1299"/>
                    <a:gd name="T101" fmla="*/ 1325 h 1342"/>
                    <a:gd name="T102" fmla="*/ 705 w 1299"/>
                    <a:gd name="T103" fmla="*/ 1313 h 1342"/>
                    <a:gd name="T104" fmla="*/ 996 w 1299"/>
                    <a:gd name="T105" fmla="*/ 1277 h 1342"/>
                    <a:gd name="T106" fmla="*/ 1426 w 1299"/>
                    <a:gd name="T107" fmla="*/ 1600 h 1342"/>
                    <a:gd name="T108" fmla="*/ 1789 w 1299"/>
                    <a:gd name="T109" fmla="*/ 1609 h 1342"/>
                    <a:gd name="T110" fmla="*/ 1972 w 1299"/>
                    <a:gd name="T111" fmla="*/ 1609 h 1342"/>
                    <a:gd name="T112" fmla="*/ 1956 w 1299"/>
                    <a:gd name="T113" fmla="*/ 1037 h 1342"/>
                    <a:gd name="T114" fmla="*/ 2329 w 1299"/>
                    <a:gd name="T115" fmla="*/ 841 h 1342"/>
                    <a:gd name="T116" fmla="*/ 2591 w 1299"/>
                    <a:gd name="T117" fmla="*/ 1189 h 1342"/>
                    <a:gd name="T118" fmla="*/ 3285 w 1299"/>
                    <a:gd name="T119" fmla="*/ 1249 h 1342"/>
                    <a:gd name="T120" fmla="*/ 3204 w 1299"/>
                    <a:gd name="T121" fmla="*/ 990 h 1342"/>
                    <a:gd name="T122" fmla="*/ 4047 w 1299"/>
                    <a:gd name="T123" fmla="*/ 696 h 1342"/>
                    <a:gd name="T124" fmla="*/ 4381 w 1299"/>
                    <a:gd name="T125" fmla="*/ 60 h 134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1299" h="1342">
                      <a:moveTo>
                        <a:pt x="828" y="0"/>
                      </a:moveTo>
                      <a:lnTo>
                        <a:pt x="822" y="31"/>
                      </a:lnTo>
                      <a:lnTo>
                        <a:pt x="824" y="49"/>
                      </a:lnTo>
                      <a:lnTo>
                        <a:pt x="842" y="60"/>
                      </a:lnTo>
                      <a:lnTo>
                        <a:pt x="861" y="60"/>
                      </a:lnTo>
                      <a:lnTo>
                        <a:pt x="867" y="82"/>
                      </a:lnTo>
                      <a:lnTo>
                        <a:pt x="873" y="97"/>
                      </a:lnTo>
                      <a:lnTo>
                        <a:pt x="890" y="105"/>
                      </a:lnTo>
                      <a:lnTo>
                        <a:pt x="902" y="113"/>
                      </a:lnTo>
                      <a:lnTo>
                        <a:pt x="902" y="117"/>
                      </a:lnTo>
                      <a:lnTo>
                        <a:pt x="912" y="124"/>
                      </a:lnTo>
                      <a:lnTo>
                        <a:pt x="933" y="136"/>
                      </a:lnTo>
                      <a:lnTo>
                        <a:pt x="943" y="148"/>
                      </a:lnTo>
                      <a:lnTo>
                        <a:pt x="945" y="161"/>
                      </a:lnTo>
                      <a:lnTo>
                        <a:pt x="945" y="192"/>
                      </a:lnTo>
                      <a:lnTo>
                        <a:pt x="960" y="202"/>
                      </a:lnTo>
                      <a:lnTo>
                        <a:pt x="979" y="206"/>
                      </a:lnTo>
                      <a:lnTo>
                        <a:pt x="989" y="192"/>
                      </a:lnTo>
                      <a:lnTo>
                        <a:pt x="1003" y="181"/>
                      </a:lnTo>
                      <a:lnTo>
                        <a:pt x="1014" y="181"/>
                      </a:lnTo>
                      <a:lnTo>
                        <a:pt x="1014" y="194"/>
                      </a:lnTo>
                      <a:lnTo>
                        <a:pt x="1010" y="214"/>
                      </a:lnTo>
                      <a:lnTo>
                        <a:pt x="1009" y="225"/>
                      </a:lnTo>
                      <a:lnTo>
                        <a:pt x="1014" y="229"/>
                      </a:lnTo>
                      <a:lnTo>
                        <a:pt x="1010" y="239"/>
                      </a:lnTo>
                      <a:lnTo>
                        <a:pt x="1030" y="254"/>
                      </a:lnTo>
                      <a:lnTo>
                        <a:pt x="1042" y="268"/>
                      </a:lnTo>
                      <a:lnTo>
                        <a:pt x="1059" y="276"/>
                      </a:lnTo>
                      <a:lnTo>
                        <a:pt x="1076" y="276"/>
                      </a:lnTo>
                      <a:lnTo>
                        <a:pt x="1106" y="287"/>
                      </a:lnTo>
                      <a:lnTo>
                        <a:pt x="1117" y="289"/>
                      </a:lnTo>
                      <a:lnTo>
                        <a:pt x="1129" y="287"/>
                      </a:lnTo>
                      <a:lnTo>
                        <a:pt x="1138" y="299"/>
                      </a:lnTo>
                      <a:lnTo>
                        <a:pt x="1150" y="311"/>
                      </a:lnTo>
                      <a:lnTo>
                        <a:pt x="1160" y="326"/>
                      </a:lnTo>
                      <a:lnTo>
                        <a:pt x="1168" y="345"/>
                      </a:lnTo>
                      <a:lnTo>
                        <a:pt x="1189" y="349"/>
                      </a:lnTo>
                      <a:lnTo>
                        <a:pt x="1204" y="353"/>
                      </a:lnTo>
                      <a:lnTo>
                        <a:pt x="1249" y="373"/>
                      </a:lnTo>
                      <a:lnTo>
                        <a:pt x="1276" y="384"/>
                      </a:lnTo>
                      <a:lnTo>
                        <a:pt x="1299" y="398"/>
                      </a:lnTo>
                      <a:lnTo>
                        <a:pt x="1294" y="419"/>
                      </a:lnTo>
                      <a:lnTo>
                        <a:pt x="1276" y="439"/>
                      </a:lnTo>
                      <a:lnTo>
                        <a:pt x="1257" y="458"/>
                      </a:lnTo>
                      <a:lnTo>
                        <a:pt x="1249" y="481"/>
                      </a:lnTo>
                      <a:lnTo>
                        <a:pt x="1230" y="526"/>
                      </a:lnTo>
                      <a:lnTo>
                        <a:pt x="1224" y="553"/>
                      </a:lnTo>
                      <a:lnTo>
                        <a:pt x="1222" y="578"/>
                      </a:lnTo>
                      <a:lnTo>
                        <a:pt x="1222" y="596"/>
                      </a:lnTo>
                      <a:lnTo>
                        <a:pt x="1226" y="603"/>
                      </a:lnTo>
                      <a:lnTo>
                        <a:pt x="1210" y="613"/>
                      </a:lnTo>
                      <a:lnTo>
                        <a:pt x="1197" y="617"/>
                      </a:lnTo>
                      <a:lnTo>
                        <a:pt x="1175" y="613"/>
                      </a:lnTo>
                      <a:lnTo>
                        <a:pt x="1164" y="611"/>
                      </a:lnTo>
                      <a:lnTo>
                        <a:pt x="1154" y="623"/>
                      </a:lnTo>
                      <a:lnTo>
                        <a:pt x="1160" y="634"/>
                      </a:lnTo>
                      <a:lnTo>
                        <a:pt x="1158" y="636"/>
                      </a:lnTo>
                      <a:lnTo>
                        <a:pt x="1142" y="646"/>
                      </a:lnTo>
                      <a:lnTo>
                        <a:pt x="1121" y="667"/>
                      </a:lnTo>
                      <a:lnTo>
                        <a:pt x="1109" y="677"/>
                      </a:lnTo>
                      <a:lnTo>
                        <a:pt x="1098" y="693"/>
                      </a:lnTo>
                      <a:lnTo>
                        <a:pt x="1088" y="710"/>
                      </a:lnTo>
                      <a:lnTo>
                        <a:pt x="1086" y="716"/>
                      </a:lnTo>
                      <a:lnTo>
                        <a:pt x="1071" y="722"/>
                      </a:lnTo>
                      <a:lnTo>
                        <a:pt x="1063" y="733"/>
                      </a:lnTo>
                      <a:lnTo>
                        <a:pt x="1053" y="739"/>
                      </a:lnTo>
                      <a:lnTo>
                        <a:pt x="1049" y="751"/>
                      </a:lnTo>
                      <a:lnTo>
                        <a:pt x="1043" y="762"/>
                      </a:lnTo>
                      <a:lnTo>
                        <a:pt x="1040" y="782"/>
                      </a:lnTo>
                      <a:lnTo>
                        <a:pt x="1036" y="805"/>
                      </a:lnTo>
                      <a:lnTo>
                        <a:pt x="1042" y="811"/>
                      </a:lnTo>
                      <a:lnTo>
                        <a:pt x="1057" y="805"/>
                      </a:lnTo>
                      <a:lnTo>
                        <a:pt x="1067" y="790"/>
                      </a:lnTo>
                      <a:lnTo>
                        <a:pt x="1080" y="774"/>
                      </a:lnTo>
                      <a:lnTo>
                        <a:pt x="1098" y="776"/>
                      </a:lnTo>
                      <a:lnTo>
                        <a:pt x="1117" y="780"/>
                      </a:lnTo>
                      <a:lnTo>
                        <a:pt x="1121" y="784"/>
                      </a:lnTo>
                      <a:lnTo>
                        <a:pt x="1117" y="797"/>
                      </a:lnTo>
                      <a:lnTo>
                        <a:pt x="1117" y="815"/>
                      </a:lnTo>
                      <a:lnTo>
                        <a:pt x="1119" y="826"/>
                      </a:lnTo>
                      <a:lnTo>
                        <a:pt x="1119" y="838"/>
                      </a:lnTo>
                      <a:lnTo>
                        <a:pt x="1135" y="844"/>
                      </a:lnTo>
                      <a:lnTo>
                        <a:pt x="1137" y="854"/>
                      </a:lnTo>
                      <a:lnTo>
                        <a:pt x="1137" y="865"/>
                      </a:lnTo>
                      <a:lnTo>
                        <a:pt x="1125" y="863"/>
                      </a:lnTo>
                      <a:lnTo>
                        <a:pt x="1117" y="863"/>
                      </a:lnTo>
                      <a:lnTo>
                        <a:pt x="1113" y="873"/>
                      </a:lnTo>
                      <a:lnTo>
                        <a:pt x="1117" y="885"/>
                      </a:lnTo>
                      <a:lnTo>
                        <a:pt x="1119" y="898"/>
                      </a:lnTo>
                      <a:lnTo>
                        <a:pt x="1127" y="921"/>
                      </a:lnTo>
                      <a:lnTo>
                        <a:pt x="1131" y="939"/>
                      </a:lnTo>
                      <a:lnTo>
                        <a:pt x="1135" y="956"/>
                      </a:lnTo>
                      <a:lnTo>
                        <a:pt x="1109" y="970"/>
                      </a:lnTo>
                      <a:lnTo>
                        <a:pt x="1098" y="982"/>
                      </a:lnTo>
                      <a:lnTo>
                        <a:pt x="1092" y="997"/>
                      </a:lnTo>
                      <a:lnTo>
                        <a:pt x="1092" y="1009"/>
                      </a:lnTo>
                      <a:lnTo>
                        <a:pt x="1096" y="1016"/>
                      </a:lnTo>
                      <a:lnTo>
                        <a:pt x="1102" y="1018"/>
                      </a:lnTo>
                      <a:lnTo>
                        <a:pt x="1111" y="1026"/>
                      </a:lnTo>
                      <a:lnTo>
                        <a:pt x="1111" y="1040"/>
                      </a:lnTo>
                      <a:lnTo>
                        <a:pt x="1106" y="1059"/>
                      </a:lnTo>
                      <a:lnTo>
                        <a:pt x="1104" y="1082"/>
                      </a:lnTo>
                      <a:lnTo>
                        <a:pt x="1107" y="1106"/>
                      </a:lnTo>
                      <a:lnTo>
                        <a:pt x="1117" y="1123"/>
                      </a:lnTo>
                      <a:lnTo>
                        <a:pt x="1135" y="1129"/>
                      </a:lnTo>
                      <a:lnTo>
                        <a:pt x="1152" y="1131"/>
                      </a:lnTo>
                      <a:lnTo>
                        <a:pt x="1168" y="1135"/>
                      </a:lnTo>
                      <a:lnTo>
                        <a:pt x="1171" y="1150"/>
                      </a:lnTo>
                      <a:lnTo>
                        <a:pt x="1170" y="1168"/>
                      </a:lnTo>
                      <a:lnTo>
                        <a:pt x="1164" y="1181"/>
                      </a:lnTo>
                      <a:lnTo>
                        <a:pt x="1166" y="1189"/>
                      </a:lnTo>
                      <a:lnTo>
                        <a:pt x="1162" y="1193"/>
                      </a:lnTo>
                      <a:lnTo>
                        <a:pt x="1121" y="1208"/>
                      </a:lnTo>
                      <a:lnTo>
                        <a:pt x="1117" y="1216"/>
                      </a:lnTo>
                      <a:lnTo>
                        <a:pt x="1106" y="1222"/>
                      </a:lnTo>
                      <a:lnTo>
                        <a:pt x="1092" y="1234"/>
                      </a:lnTo>
                      <a:lnTo>
                        <a:pt x="1078" y="1241"/>
                      </a:lnTo>
                      <a:lnTo>
                        <a:pt x="1065" y="1251"/>
                      </a:lnTo>
                      <a:lnTo>
                        <a:pt x="1059" y="1253"/>
                      </a:lnTo>
                      <a:lnTo>
                        <a:pt x="1055" y="1265"/>
                      </a:lnTo>
                      <a:lnTo>
                        <a:pt x="1049" y="1272"/>
                      </a:lnTo>
                      <a:lnTo>
                        <a:pt x="1018" y="1280"/>
                      </a:lnTo>
                      <a:lnTo>
                        <a:pt x="1007" y="1284"/>
                      </a:lnTo>
                      <a:lnTo>
                        <a:pt x="997" y="1286"/>
                      </a:lnTo>
                      <a:lnTo>
                        <a:pt x="995" y="1284"/>
                      </a:lnTo>
                      <a:lnTo>
                        <a:pt x="979" y="1282"/>
                      </a:lnTo>
                      <a:lnTo>
                        <a:pt x="964" y="1280"/>
                      </a:lnTo>
                      <a:lnTo>
                        <a:pt x="960" y="1272"/>
                      </a:lnTo>
                      <a:lnTo>
                        <a:pt x="954" y="1267"/>
                      </a:lnTo>
                      <a:lnTo>
                        <a:pt x="950" y="1259"/>
                      </a:lnTo>
                      <a:lnTo>
                        <a:pt x="935" y="1259"/>
                      </a:lnTo>
                      <a:lnTo>
                        <a:pt x="925" y="1255"/>
                      </a:lnTo>
                      <a:lnTo>
                        <a:pt x="917" y="1251"/>
                      </a:lnTo>
                      <a:lnTo>
                        <a:pt x="915" y="1240"/>
                      </a:lnTo>
                      <a:lnTo>
                        <a:pt x="904" y="1234"/>
                      </a:lnTo>
                      <a:lnTo>
                        <a:pt x="888" y="1230"/>
                      </a:lnTo>
                      <a:lnTo>
                        <a:pt x="881" y="1224"/>
                      </a:lnTo>
                      <a:lnTo>
                        <a:pt x="873" y="1216"/>
                      </a:lnTo>
                      <a:lnTo>
                        <a:pt x="882" y="1224"/>
                      </a:lnTo>
                      <a:lnTo>
                        <a:pt x="877" y="1222"/>
                      </a:lnTo>
                      <a:lnTo>
                        <a:pt x="863" y="1222"/>
                      </a:lnTo>
                      <a:lnTo>
                        <a:pt x="861" y="1228"/>
                      </a:lnTo>
                      <a:lnTo>
                        <a:pt x="842" y="1226"/>
                      </a:lnTo>
                      <a:lnTo>
                        <a:pt x="826" y="1216"/>
                      </a:lnTo>
                      <a:lnTo>
                        <a:pt x="822" y="1208"/>
                      </a:lnTo>
                      <a:lnTo>
                        <a:pt x="817" y="1205"/>
                      </a:lnTo>
                      <a:lnTo>
                        <a:pt x="786" y="1195"/>
                      </a:lnTo>
                      <a:lnTo>
                        <a:pt x="780" y="1187"/>
                      </a:lnTo>
                      <a:lnTo>
                        <a:pt x="768" y="1185"/>
                      </a:lnTo>
                      <a:lnTo>
                        <a:pt x="747" y="1193"/>
                      </a:lnTo>
                      <a:lnTo>
                        <a:pt x="735" y="1201"/>
                      </a:lnTo>
                      <a:lnTo>
                        <a:pt x="710" y="1212"/>
                      </a:lnTo>
                      <a:lnTo>
                        <a:pt x="694" y="1216"/>
                      </a:lnTo>
                      <a:lnTo>
                        <a:pt x="667" y="1224"/>
                      </a:lnTo>
                      <a:lnTo>
                        <a:pt x="652" y="1243"/>
                      </a:lnTo>
                      <a:lnTo>
                        <a:pt x="640" y="1272"/>
                      </a:lnTo>
                      <a:lnTo>
                        <a:pt x="642" y="1276"/>
                      </a:lnTo>
                      <a:lnTo>
                        <a:pt x="648" y="1284"/>
                      </a:lnTo>
                      <a:lnTo>
                        <a:pt x="642" y="1342"/>
                      </a:lnTo>
                      <a:lnTo>
                        <a:pt x="628" y="1338"/>
                      </a:lnTo>
                      <a:lnTo>
                        <a:pt x="599" y="1333"/>
                      </a:lnTo>
                      <a:lnTo>
                        <a:pt x="572" y="1333"/>
                      </a:lnTo>
                      <a:lnTo>
                        <a:pt x="541" y="1331"/>
                      </a:lnTo>
                      <a:lnTo>
                        <a:pt x="510" y="1327"/>
                      </a:lnTo>
                      <a:lnTo>
                        <a:pt x="495" y="1319"/>
                      </a:lnTo>
                      <a:lnTo>
                        <a:pt x="489" y="1313"/>
                      </a:lnTo>
                      <a:lnTo>
                        <a:pt x="477" y="1298"/>
                      </a:lnTo>
                      <a:lnTo>
                        <a:pt x="467" y="1284"/>
                      </a:lnTo>
                      <a:lnTo>
                        <a:pt x="450" y="1280"/>
                      </a:lnTo>
                      <a:lnTo>
                        <a:pt x="438" y="1274"/>
                      </a:lnTo>
                      <a:lnTo>
                        <a:pt x="413" y="1249"/>
                      </a:lnTo>
                      <a:lnTo>
                        <a:pt x="398" y="1240"/>
                      </a:lnTo>
                      <a:lnTo>
                        <a:pt x="378" y="1240"/>
                      </a:lnTo>
                      <a:lnTo>
                        <a:pt x="353" y="1251"/>
                      </a:lnTo>
                      <a:lnTo>
                        <a:pt x="339" y="1249"/>
                      </a:lnTo>
                      <a:lnTo>
                        <a:pt x="308" y="1240"/>
                      </a:lnTo>
                      <a:lnTo>
                        <a:pt x="277" y="1222"/>
                      </a:lnTo>
                      <a:lnTo>
                        <a:pt x="219" y="1195"/>
                      </a:lnTo>
                      <a:lnTo>
                        <a:pt x="210" y="1177"/>
                      </a:lnTo>
                      <a:lnTo>
                        <a:pt x="188" y="1160"/>
                      </a:lnTo>
                      <a:lnTo>
                        <a:pt x="167" y="1150"/>
                      </a:lnTo>
                      <a:lnTo>
                        <a:pt x="151" y="1135"/>
                      </a:lnTo>
                      <a:lnTo>
                        <a:pt x="140" y="1121"/>
                      </a:lnTo>
                      <a:lnTo>
                        <a:pt x="128" y="1104"/>
                      </a:lnTo>
                      <a:lnTo>
                        <a:pt x="115" y="1088"/>
                      </a:lnTo>
                      <a:lnTo>
                        <a:pt x="115" y="1079"/>
                      </a:lnTo>
                      <a:lnTo>
                        <a:pt x="134" y="1086"/>
                      </a:lnTo>
                      <a:lnTo>
                        <a:pt x="159" y="1077"/>
                      </a:lnTo>
                      <a:lnTo>
                        <a:pt x="173" y="1057"/>
                      </a:lnTo>
                      <a:lnTo>
                        <a:pt x="184" y="1028"/>
                      </a:lnTo>
                      <a:lnTo>
                        <a:pt x="202" y="987"/>
                      </a:lnTo>
                      <a:lnTo>
                        <a:pt x="223" y="943"/>
                      </a:lnTo>
                      <a:lnTo>
                        <a:pt x="244" y="912"/>
                      </a:lnTo>
                      <a:lnTo>
                        <a:pt x="250" y="906"/>
                      </a:lnTo>
                      <a:lnTo>
                        <a:pt x="239" y="888"/>
                      </a:lnTo>
                      <a:lnTo>
                        <a:pt x="239" y="885"/>
                      </a:lnTo>
                      <a:lnTo>
                        <a:pt x="248" y="859"/>
                      </a:lnTo>
                      <a:lnTo>
                        <a:pt x="264" y="821"/>
                      </a:lnTo>
                      <a:lnTo>
                        <a:pt x="272" y="790"/>
                      </a:lnTo>
                      <a:lnTo>
                        <a:pt x="281" y="776"/>
                      </a:lnTo>
                      <a:lnTo>
                        <a:pt x="293" y="797"/>
                      </a:lnTo>
                      <a:lnTo>
                        <a:pt x="303" y="813"/>
                      </a:lnTo>
                      <a:lnTo>
                        <a:pt x="306" y="824"/>
                      </a:lnTo>
                      <a:lnTo>
                        <a:pt x="305" y="797"/>
                      </a:lnTo>
                      <a:lnTo>
                        <a:pt x="295" y="772"/>
                      </a:lnTo>
                      <a:lnTo>
                        <a:pt x="277" y="755"/>
                      </a:lnTo>
                      <a:lnTo>
                        <a:pt x="275" y="735"/>
                      </a:lnTo>
                      <a:lnTo>
                        <a:pt x="291" y="718"/>
                      </a:lnTo>
                      <a:lnTo>
                        <a:pt x="297" y="693"/>
                      </a:lnTo>
                      <a:lnTo>
                        <a:pt x="293" y="673"/>
                      </a:lnTo>
                      <a:lnTo>
                        <a:pt x="297" y="656"/>
                      </a:lnTo>
                      <a:lnTo>
                        <a:pt x="293" y="656"/>
                      </a:lnTo>
                      <a:lnTo>
                        <a:pt x="291" y="654"/>
                      </a:lnTo>
                      <a:lnTo>
                        <a:pt x="275" y="646"/>
                      </a:lnTo>
                      <a:lnTo>
                        <a:pt x="254" y="629"/>
                      </a:lnTo>
                      <a:lnTo>
                        <a:pt x="235" y="605"/>
                      </a:lnTo>
                      <a:lnTo>
                        <a:pt x="223" y="580"/>
                      </a:lnTo>
                      <a:lnTo>
                        <a:pt x="215" y="551"/>
                      </a:lnTo>
                      <a:lnTo>
                        <a:pt x="223" y="532"/>
                      </a:lnTo>
                      <a:lnTo>
                        <a:pt x="227" y="508"/>
                      </a:lnTo>
                      <a:lnTo>
                        <a:pt x="225" y="495"/>
                      </a:lnTo>
                      <a:lnTo>
                        <a:pt x="264" y="497"/>
                      </a:lnTo>
                      <a:lnTo>
                        <a:pt x="246" y="483"/>
                      </a:lnTo>
                      <a:lnTo>
                        <a:pt x="213" y="477"/>
                      </a:lnTo>
                      <a:lnTo>
                        <a:pt x="192" y="472"/>
                      </a:lnTo>
                      <a:lnTo>
                        <a:pt x="198" y="454"/>
                      </a:lnTo>
                      <a:lnTo>
                        <a:pt x="204" y="439"/>
                      </a:lnTo>
                      <a:lnTo>
                        <a:pt x="200" y="435"/>
                      </a:lnTo>
                      <a:lnTo>
                        <a:pt x="165" y="427"/>
                      </a:lnTo>
                      <a:lnTo>
                        <a:pt x="175" y="423"/>
                      </a:lnTo>
                      <a:lnTo>
                        <a:pt x="163" y="413"/>
                      </a:lnTo>
                      <a:lnTo>
                        <a:pt x="140" y="415"/>
                      </a:lnTo>
                      <a:lnTo>
                        <a:pt x="130" y="409"/>
                      </a:lnTo>
                      <a:lnTo>
                        <a:pt x="128" y="406"/>
                      </a:lnTo>
                      <a:lnTo>
                        <a:pt x="126" y="398"/>
                      </a:lnTo>
                      <a:lnTo>
                        <a:pt x="113" y="382"/>
                      </a:lnTo>
                      <a:lnTo>
                        <a:pt x="97" y="371"/>
                      </a:lnTo>
                      <a:lnTo>
                        <a:pt x="72" y="353"/>
                      </a:lnTo>
                      <a:lnTo>
                        <a:pt x="62" y="345"/>
                      </a:lnTo>
                      <a:lnTo>
                        <a:pt x="45" y="342"/>
                      </a:lnTo>
                      <a:lnTo>
                        <a:pt x="23" y="345"/>
                      </a:lnTo>
                      <a:lnTo>
                        <a:pt x="18" y="326"/>
                      </a:lnTo>
                      <a:lnTo>
                        <a:pt x="0" y="299"/>
                      </a:lnTo>
                      <a:lnTo>
                        <a:pt x="14" y="297"/>
                      </a:lnTo>
                      <a:lnTo>
                        <a:pt x="31" y="295"/>
                      </a:lnTo>
                      <a:lnTo>
                        <a:pt x="29" y="285"/>
                      </a:lnTo>
                      <a:lnTo>
                        <a:pt x="16" y="283"/>
                      </a:lnTo>
                      <a:lnTo>
                        <a:pt x="14" y="274"/>
                      </a:lnTo>
                      <a:lnTo>
                        <a:pt x="25" y="264"/>
                      </a:lnTo>
                      <a:lnTo>
                        <a:pt x="35" y="266"/>
                      </a:lnTo>
                      <a:lnTo>
                        <a:pt x="41" y="258"/>
                      </a:lnTo>
                      <a:lnTo>
                        <a:pt x="2" y="252"/>
                      </a:lnTo>
                      <a:lnTo>
                        <a:pt x="6" y="243"/>
                      </a:lnTo>
                      <a:lnTo>
                        <a:pt x="18" y="227"/>
                      </a:lnTo>
                      <a:lnTo>
                        <a:pt x="41" y="221"/>
                      </a:lnTo>
                      <a:lnTo>
                        <a:pt x="62" y="219"/>
                      </a:lnTo>
                      <a:lnTo>
                        <a:pt x="93" y="221"/>
                      </a:lnTo>
                      <a:lnTo>
                        <a:pt x="109" y="227"/>
                      </a:lnTo>
                      <a:lnTo>
                        <a:pt x="122" y="225"/>
                      </a:lnTo>
                      <a:lnTo>
                        <a:pt x="136" y="227"/>
                      </a:lnTo>
                      <a:lnTo>
                        <a:pt x="142" y="217"/>
                      </a:lnTo>
                      <a:lnTo>
                        <a:pt x="153" y="214"/>
                      </a:lnTo>
                      <a:lnTo>
                        <a:pt x="161" y="219"/>
                      </a:lnTo>
                      <a:lnTo>
                        <a:pt x="171" y="219"/>
                      </a:lnTo>
                      <a:lnTo>
                        <a:pt x="192" y="225"/>
                      </a:lnTo>
                      <a:lnTo>
                        <a:pt x="200" y="237"/>
                      </a:lnTo>
                      <a:lnTo>
                        <a:pt x="211" y="258"/>
                      </a:lnTo>
                      <a:lnTo>
                        <a:pt x="227" y="276"/>
                      </a:lnTo>
                      <a:lnTo>
                        <a:pt x="246" y="274"/>
                      </a:lnTo>
                      <a:lnTo>
                        <a:pt x="264" y="272"/>
                      </a:lnTo>
                      <a:lnTo>
                        <a:pt x="268" y="276"/>
                      </a:lnTo>
                      <a:lnTo>
                        <a:pt x="277" y="280"/>
                      </a:lnTo>
                      <a:lnTo>
                        <a:pt x="293" y="276"/>
                      </a:lnTo>
                      <a:lnTo>
                        <a:pt x="308" y="276"/>
                      </a:lnTo>
                      <a:lnTo>
                        <a:pt x="314" y="281"/>
                      </a:lnTo>
                      <a:lnTo>
                        <a:pt x="318" y="291"/>
                      </a:lnTo>
                      <a:lnTo>
                        <a:pt x="341" y="295"/>
                      </a:lnTo>
                      <a:lnTo>
                        <a:pt x="351" y="289"/>
                      </a:lnTo>
                      <a:lnTo>
                        <a:pt x="339" y="276"/>
                      </a:lnTo>
                      <a:lnTo>
                        <a:pt x="339" y="254"/>
                      </a:lnTo>
                      <a:lnTo>
                        <a:pt x="345" y="231"/>
                      </a:lnTo>
                      <a:lnTo>
                        <a:pt x="343" y="212"/>
                      </a:lnTo>
                      <a:lnTo>
                        <a:pt x="347" y="188"/>
                      </a:lnTo>
                      <a:lnTo>
                        <a:pt x="336" y="177"/>
                      </a:lnTo>
                      <a:lnTo>
                        <a:pt x="334" y="159"/>
                      </a:lnTo>
                      <a:lnTo>
                        <a:pt x="339" y="122"/>
                      </a:lnTo>
                      <a:lnTo>
                        <a:pt x="355" y="130"/>
                      </a:lnTo>
                      <a:lnTo>
                        <a:pt x="394" y="138"/>
                      </a:lnTo>
                      <a:lnTo>
                        <a:pt x="400" y="144"/>
                      </a:lnTo>
                      <a:lnTo>
                        <a:pt x="394" y="159"/>
                      </a:lnTo>
                      <a:lnTo>
                        <a:pt x="402" y="173"/>
                      </a:lnTo>
                      <a:lnTo>
                        <a:pt x="409" y="192"/>
                      </a:lnTo>
                      <a:lnTo>
                        <a:pt x="419" y="192"/>
                      </a:lnTo>
                      <a:lnTo>
                        <a:pt x="446" y="204"/>
                      </a:lnTo>
                      <a:lnTo>
                        <a:pt x="469" y="217"/>
                      </a:lnTo>
                      <a:lnTo>
                        <a:pt x="489" y="219"/>
                      </a:lnTo>
                      <a:lnTo>
                        <a:pt x="506" y="219"/>
                      </a:lnTo>
                      <a:lnTo>
                        <a:pt x="526" y="212"/>
                      </a:lnTo>
                      <a:lnTo>
                        <a:pt x="564" y="214"/>
                      </a:lnTo>
                      <a:lnTo>
                        <a:pt x="568" y="210"/>
                      </a:lnTo>
                      <a:lnTo>
                        <a:pt x="559" y="206"/>
                      </a:lnTo>
                      <a:lnTo>
                        <a:pt x="533" y="198"/>
                      </a:lnTo>
                      <a:lnTo>
                        <a:pt x="535" y="188"/>
                      </a:lnTo>
                      <a:lnTo>
                        <a:pt x="551" y="169"/>
                      </a:lnTo>
                      <a:lnTo>
                        <a:pt x="582" y="155"/>
                      </a:lnTo>
                      <a:lnTo>
                        <a:pt x="609" y="153"/>
                      </a:lnTo>
                      <a:lnTo>
                        <a:pt x="644" y="148"/>
                      </a:lnTo>
                      <a:lnTo>
                        <a:pt x="669" y="136"/>
                      </a:lnTo>
                      <a:lnTo>
                        <a:pt x="696" y="119"/>
                      </a:lnTo>
                      <a:lnTo>
                        <a:pt x="700" y="107"/>
                      </a:lnTo>
                      <a:lnTo>
                        <a:pt x="694" y="97"/>
                      </a:lnTo>
                      <a:lnTo>
                        <a:pt x="714" y="45"/>
                      </a:lnTo>
                      <a:lnTo>
                        <a:pt x="731" y="14"/>
                      </a:lnTo>
                      <a:lnTo>
                        <a:pt x="754" y="10"/>
                      </a:lnTo>
                      <a:lnTo>
                        <a:pt x="780" y="6"/>
                      </a:lnTo>
                      <a:lnTo>
                        <a:pt x="797" y="6"/>
                      </a:lnTo>
                      <a:lnTo>
                        <a:pt x="818" y="6"/>
                      </a:lnTo>
                      <a:lnTo>
                        <a:pt x="828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0" name="Freeform 20"/>
                <p:cNvSpPr>
                  <a:spLocks/>
                </p:cNvSpPr>
                <p:nvPr/>
              </p:nvSpPr>
              <p:spPr bwMode="gray">
                <a:xfrm>
                  <a:off x="3094818" y="1283829"/>
                  <a:ext cx="1117089" cy="1505475"/>
                </a:xfrm>
                <a:custGeom>
                  <a:avLst/>
                  <a:gdLst>
                    <a:gd name="T0" fmla="*/ 3152 w 877"/>
                    <a:gd name="T1" fmla="*/ 943 h 1181"/>
                    <a:gd name="T2" fmla="*/ 3330 w 877"/>
                    <a:gd name="T3" fmla="*/ 865 h 1181"/>
                    <a:gd name="T4" fmla="*/ 3654 w 877"/>
                    <a:gd name="T5" fmla="*/ 791 h 1181"/>
                    <a:gd name="T6" fmla="*/ 3983 w 877"/>
                    <a:gd name="T7" fmla="*/ 536 h 1181"/>
                    <a:gd name="T8" fmla="*/ 3942 w 877"/>
                    <a:gd name="T9" fmla="*/ 638 h 1181"/>
                    <a:gd name="T10" fmla="*/ 4242 w 877"/>
                    <a:gd name="T11" fmla="*/ 791 h 1181"/>
                    <a:gd name="T12" fmla="*/ 4469 w 877"/>
                    <a:gd name="T13" fmla="*/ 912 h 1181"/>
                    <a:gd name="T14" fmla="*/ 4746 w 877"/>
                    <a:gd name="T15" fmla="*/ 1190 h 1181"/>
                    <a:gd name="T16" fmla="*/ 4833 w 877"/>
                    <a:gd name="T17" fmla="*/ 1749 h 1181"/>
                    <a:gd name="T18" fmla="*/ 4872 w 877"/>
                    <a:gd name="T19" fmla="*/ 2172 h 1181"/>
                    <a:gd name="T20" fmla="*/ 4963 w 877"/>
                    <a:gd name="T21" fmla="*/ 2786 h 1181"/>
                    <a:gd name="T22" fmla="*/ 5107 w 877"/>
                    <a:gd name="T23" fmla="*/ 3313 h 1181"/>
                    <a:gd name="T24" fmla="*/ 5075 w 877"/>
                    <a:gd name="T25" fmla="*/ 3853 h 1181"/>
                    <a:gd name="T26" fmla="*/ 4926 w 877"/>
                    <a:gd name="T27" fmla="*/ 3767 h 1181"/>
                    <a:gd name="T28" fmla="*/ 4576 w 877"/>
                    <a:gd name="T29" fmla="*/ 3914 h 1181"/>
                    <a:gd name="T30" fmla="*/ 3940 w 877"/>
                    <a:gd name="T31" fmla="*/ 4241 h 1181"/>
                    <a:gd name="T32" fmla="*/ 3640 w 877"/>
                    <a:gd name="T33" fmla="*/ 4477 h 1181"/>
                    <a:gd name="T34" fmla="*/ 3425 w 877"/>
                    <a:gd name="T35" fmla="*/ 4464 h 1181"/>
                    <a:gd name="T36" fmla="*/ 3755 w 877"/>
                    <a:gd name="T37" fmla="*/ 5103 h 1181"/>
                    <a:gd name="T38" fmla="*/ 4483 w 877"/>
                    <a:gd name="T39" fmla="*/ 5805 h 1181"/>
                    <a:gd name="T40" fmla="*/ 4189 w 877"/>
                    <a:gd name="T41" fmla="*/ 6173 h 1181"/>
                    <a:gd name="T42" fmla="*/ 3958 w 877"/>
                    <a:gd name="T43" fmla="*/ 6851 h 1181"/>
                    <a:gd name="T44" fmla="*/ 3482 w 877"/>
                    <a:gd name="T45" fmla="*/ 6795 h 1181"/>
                    <a:gd name="T46" fmla="*/ 2889 w 877"/>
                    <a:gd name="T47" fmla="*/ 6971 h 1181"/>
                    <a:gd name="T48" fmla="*/ 2340 w 877"/>
                    <a:gd name="T49" fmla="*/ 6971 h 1181"/>
                    <a:gd name="T50" fmla="*/ 1909 w 877"/>
                    <a:gd name="T51" fmla="*/ 6803 h 1181"/>
                    <a:gd name="T52" fmla="*/ 1385 w 877"/>
                    <a:gd name="T53" fmla="*/ 6655 h 1181"/>
                    <a:gd name="T54" fmla="*/ 616 w 877"/>
                    <a:gd name="T55" fmla="*/ 6621 h 1181"/>
                    <a:gd name="T56" fmla="*/ 640 w 877"/>
                    <a:gd name="T57" fmla="*/ 6164 h 1181"/>
                    <a:gd name="T58" fmla="*/ 1047 w 877"/>
                    <a:gd name="T59" fmla="*/ 5409 h 1181"/>
                    <a:gd name="T60" fmla="*/ 279 w 877"/>
                    <a:gd name="T61" fmla="*/ 5088 h 1181"/>
                    <a:gd name="T62" fmla="*/ 50 w 877"/>
                    <a:gd name="T63" fmla="*/ 4760 h 1181"/>
                    <a:gd name="T64" fmla="*/ 50 w 877"/>
                    <a:gd name="T65" fmla="*/ 4314 h 1181"/>
                    <a:gd name="T66" fmla="*/ 130 w 877"/>
                    <a:gd name="T67" fmla="*/ 3928 h 1181"/>
                    <a:gd name="T68" fmla="*/ 60 w 877"/>
                    <a:gd name="T69" fmla="*/ 3570 h 1181"/>
                    <a:gd name="T70" fmla="*/ 148 w 877"/>
                    <a:gd name="T71" fmla="*/ 3048 h 1181"/>
                    <a:gd name="T72" fmla="*/ 279 w 877"/>
                    <a:gd name="T73" fmla="*/ 2593 h 1181"/>
                    <a:gd name="T74" fmla="*/ 682 w 877"/>
                    <a:gd name="T75" fmla="*/ 2373 h 1181"/>
                    <a:gd name="T76" fmla="*/ 661 w 877"/>
                    <a:gd name="T77" fmla="*/ 1943 h 1181"/>
                    <a:gd name="T78" fmla="*/ 912 w 877"/>
                    <a:gd name="T79" fmla="*/ 1474 h 1181"/>
                    <a:gd name="T80" fmla="*/ 1122 w 877"/>
                    <a:gd name="T81" fmla="*/ 1422 h 1181"/>
                    <a:gd name="T82" fmla="*/ 922 w 877"/>
                    <a:gd name="T83" fmla="*/ 1253 h 1181"/>
                    <a:gd name="T84" fmla="*/ 1324 w 877"/>
                    <a:gd name="T85" fmla="*/ 1065 h 1181"/>
                    <a:gd name="T86" fmla="*/ 1603 w 877"/>
                    <a:gd name="T87" fmla="*/ 1221 h 1181"/>
                    <a:gd name="T88" fmla="*/ 1730 w 877"/>
                    <a:gd name="T89" fmla="*/ 1190 h 1181"/>
                    <a:gd name="T90" fmla="*/ 2030 w 877"/>
                    <a:gd name="T91" fmla="*/ 975 h 1181"/>
                    <a:gd name="T92" fmla="*/ 1981 w 877"/>
                    <a:gd name="T93" fmla="*/ 765 h 1181"/>
                    <a:gd name="T94" fmla="*/ 1914 w 877"/>
                    <a:gd name="T95" fmla="*/ 536 h 1181"/>
                    <a:gd name="T96" fmla="*/ 2037 w 877"/>
                    <a:gd name="T97" fmla="*/ 376 h 1181"/>
                    <a:gd name="T98" fmla="*/ 1914 w 877"/>
                    <a:gd name="T99" fmla="*/ 50 h 1181"/>
                    <a:gd name="T100" fmla="*/ 2340 w 877"/>
                    <a:gd name="T101" fmla="*/ 50 h 1181"/>
                    <a:gd name="T102" fmla="*/ 2494 w 877"/>
                    <a:gd name="T103" fmla="*/ 159 h 1181"/>
                    <a:gd name="T104" fmla="*/ 2574 w 877"/>
                    <a:gd name="T105" fmla="*/ 478 h 1181"/>
                    <a:gd name="T106" fmla="*/ 2828 w 877"/>
                    <a:gd name="T107" fmla="*/ 611 h 1181"/>
                    <a:gd name="T108" fmla="*/ 3091 w 877"/>
                    <a:gd name="T109" fmla="*/ 698 h 1181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877" h="1181">
                      <a:moveTo>
                        <a:pt x="498" y="159"/>
                      </a:moveTo>
                      <a:lnTo>
                        <a:pt x="500" y="169"/>
                      </a:lnTo>
                      <a:lnTo>
                        <a:pt x="510" y="161"/>
                      </a:lnTo>
                      <a:lnTo>
                        <a:pt x="526" y="155"/>
                      </a:lnTo>
                      <a:lnTo>
                        <a:pt x="535" y="159"/>
                      </a:lnTo>
                      <a:lnTo>
                        <a:pt x="545" y="161"/>
                      </a:lnTo>
                      <a:lnTo>
                        <a:pt x="561" y="161"/>
                      </a:lnTo>
                      <a:lnTo>
                        <a:pt x="555" y="154"/>
                      </a:lnTo>
                      <a:lnTo>
                        <a:pt x="561" y="152"/>
                      </a:lnTo>
                      <a:lnTo>
                        <a:pt x="566" y="146"/>
                      </a:lnTo>
                      <a:lnTo>
                        <a:pt x="580" y="134"/>
                      </a:lnTo>
                      <a:lnTo>
                        <a:pt x="599" y="130"/>
                      </a:lnTo>
                      <a:lnTo>
                        <a:pt x="613" y="128"/>
                      </a:lnTo>
                      <a:lnTo>
                        <a:pt x="613" y="138"/>
                      </a:lnTo>
                      <a:lnTo>
                        <a:pt x="621" y="134"/>
                      </a:lnTo>
                      <a:lnTo>
                        <a:pt x="630" y="119"/>
                      </a:lnTo>
                      <a:lnTo>
                        <a:pt x="638" y="107"/>
                      </a:lnTo>
                      <a:lnTo>
                        <a:pt x="652" y="91"/>
                      </a:lnTo>
                      <a:lnTo>
                        <a:pt x="667" y="91"/>
                      </a:lnTo>
                      <a:lnTo>
                        <a:pt x="677" y="91"/>
                      </a:lnTo>
                      <a:lnTo>
                        <a:pt x="661" y="99"/>
                      </a:lnTo>
                      <a:lnTo>
                        <a:pt x="652" y="111"/>
                      </a:lnTo>
                      <a:lnTo>
                        <a:pt x="648" y="119"/>
                      </a:lnTo>
                      <a:lnTo>
                        <a:pt x="659" y="111"/>
                      </a:lnTo>
                      <a:lnTo>
                        <a:pt x="671" y="107"/>
                      </a:lnTo>
                      <a:lnTo>
                        <a:pt x="687" y="103"/>
                      </a:lnTo>
                      <a:lnTo>
                        <a:pt x="698" y="103"/>
                      </a:lnTo>
                      <a:lnTo>
                        <a:pt x="708" y="113"/>
                      </a:lnTo>
                      <a:lnTo>
                        <a:pt x="718" y="122"/>
                      </a:lnTo>
                      <a:lnTo>
                        <a:pt x="721" y="134"/>
                      </a:lnTo>
                      <a:lnTo>
                        <a:pt x="729" y="136"/>
                      </a:lnTo>
                      <a:lnTo>
                        <a:pt x="737" y="144"/>
                      </a:lnTo>
                      <a:lnTo>
                        <a:pt x="749" y="144"/>
                      </a:lnTo>
                      <a:lnTo>
                        <a:pt x="754" y="142"/>
                      </a:lnTo>
                      <a:lnTo>
                        <a:pt x="760" y="154"/>
                      </a:lnTo>
                      <a:lnTo>
                        <a:pt x="768" y="167"/>
                      </a:lnTo>
                      <a:lnTo>
                        <a:pt x="770" y="188"/>
                      </a:lnTo>
                      <a:lnTo>
                        <a:pt x="784" y="194"/>
                      </a:lnTo>
                      <a:lnTo>
                        <a:pt x="795" y="200"/>
                      </a:lnTo>
                      <a:lnTo>
                        <a:pt x="807" y="200"/>
                      </a:lnTo>
                      <a:lnTo>
                        <a:pt x="813" y="218"/>
                      </a:lnTo>
                      <a:lnTo>
                        <a:pt x="818" y="233"/>
                      </a:lnTo>
                      <a:lnTo>
                        <a:pt x="824" y="247"/>
                      </a:lnTo>
                      <a:lnTo>
                        <a:pt x="824" y="274"/>
                      </a:lnTo>
                      <a:lnTo>
                        <a:pt x="822" y="295"/>
                      </a:lnTo>
                      <a:lnTo>
                        <a:pt x="813" y="316"/>
                      </a:lnTo>
                      <a:lnTo>
                        <a:pt x="805" y="338"/>
                      </a:lnTo>
                      <a:lnTo>
                        <a:pt x="805" y="349"/>
                      </a:lnTo>
                      <a:lnTo>
                        <a:pt x="817" y="357"/>
                      </a:lnTo>
                      <a:lnTo>
                        <a:pt x="828" y="367"/>
                      </a:lnTo>
                      <a:lnTo>
                        <a:pt x="832" y="382"/>
                      </a:lnTo>
                      <a:lnTo>
                        <a:pt x="834" y="404"/>
                      </a:lnTo>
                      <a:lnTo>
                        <a:pt x="836" y="425"/>
                      </a:lnTo>
                      <a:lnTo>
                        <a:pt x="840" y="441"/>
                      </a:lnTo>
                      <a:lnTo>
                        <a:pt x="844" y="470"/>
                      </a:lnTo>
                      <a:lnTo>
                        <a:pt x="842" y="487"/>
                      </a:lnTo>
                      <a:lnTo>
                        <a:pt x="844" y="505"/>
                      </a:lnTo>
                      <a:lnTo>
                        <a:pt x="846" y="530"/>
                      </a:lnTo>
                      <a:lnTo>
                        <a:pt x="857" y="545"/>
                      </a:lnTo>
                      <a:lnTo>
                        <a:pt x="869" y="559"/>
                      </a:lnTo>
                      <a:lnTo>
                        <a:pt x="875" y="565"/>
                      </a:lnTo>
                      <a:lnTo>
                        <a:pt x="877" y="572"/>
                      </a:lnTo>
                      <a:lnTo>
                        <a:pt x="875" y="607"/>
                      </a:lnTo>
                      <a:lnTo>
                        <a:pt x="867" y="640"/>
                      </a:lnTo>
                      <a:lnTo>
                        <a:pt x="863" y="650"/>
                      </a:lnTo>
                      <a:lnTo>
                        <a:pt x="861" y="652"/>
                      </a:lnTo>
                      <a:lnTo>
                        <a:pt x="861" y="654"/>
                      </a:lnTo>
                      <a:lnTo>
                        <a:pt x="859" y="652"/>
                      </a:lnTo>
                      <a:lnTo>
                        <a:pt x="849" y="654"/>
                      </a:lnTo>
                      <a:lnTo>
                        <a:pt x="838" y="636"/>
                      </a:lnTo>
                      <a:lnTo>
                        <a:pt x="824" y="615"/>
                      </a:lnTo>
                      <a:lnTo>
                        <a:pt x="807" y="611"/>
                      </a:lnTo>
                      <a:lnTo>
                        <a:pt x="805" y="631"/>
                      </a:lnTo>
                      <a:lnTo>
                        <a:pt x="799" y="652"/>
                      </a:lnTo>
                      <a:lnTo>
                        <a:pt x="778" y="660"/>
                      </a:lnTo>
                      <a:lnTo>
                        <a:pt x="751" y="669"/>
                      </a:lnTo>
                      <a:lnTo>
                        <a:pt x="731" y="675"/>
                      </a:lnTo>
                      <a:lnTo>
                        <a:pt x="718" y="695"/>
                      </a:lnTo>
                      <a:lnTo>
                        <a:pt x="689" y="710"/>
                      </a:lnTo>
                      <a:lnTo>
                        <a:pt x="669" y="716"/>
                      </a:lnTo>
                      <a:lnTo>
                        <a:pt x="657" y="720"/>
                      </a:lnTo>
                      <a:lnTo>
                        <a:pt x="642" y="724"/>
                      </a:lnTo>
                      <a:lnTo>
                        <a:pt x="628" y="731"/>
                      </a:lnTo>
                      <a:lnTo>
                        <a:pt x="623" y="741"/>
                      </a:lnTo>
                      <a:lnTo>
                        <a:pt x="619" y="755"/>
                      </a:lnTo>
                      <a:lnTo>
                        <a:pt x="613" y="757"/>
                      </a:lnTo>
                      <a:lnTo>
                        <a:pt x="607" y="745"/>
                      </a:lnTo>
                      <a:lnTo>
                        <a:pt x="588" y="728"/>
                      </a:lnTo>
                      <a:lnTo>
                        <a:pt x="584" y="735"/>
                      </a:lnTo>
                      <a:lnTo>
                        <a:pt x="582" y="753"/>
                      </a:lnTo>
                      <a:lnTo>
                        <a:pt x="597" y="772"/>
                      </a:lnTo>
                      <a:lnTo>
                        <a:pt x="619" y="782"/>
                      </a:lnTo>
                      <a:lnTo>
                        <a:pt x="623" y="803"/>
                      </a:lnTo>
                      <a:lnTo>
                        <a:pt x="621" y="838"/>
                      </a:lnTo>
                      <a:lnTo>
                        <a:pt x="638" y="861"/>
                      </a:lnTo>
                      <a:lnTo>
                        <a:pt x="689" y="906"/>
                      </a:lnTo>
                      <a:lnTo>
                        <a:pt x="708" y="929"/>
                      </a:lnTo>
                      <a:lnTo>
                        <a:pt x="721" y="945"/>
                      </a:lnTo>
                      <a:lnTo>
                        <a:pt x="754" y="968"/>
                      </a:lnTo>
                      <a:lnTo>
                        <a:pt x="762" y="980"/>
                      </a:lnTo>
                      <a:lnTo>
                        <a:pt x="758" y="995"/>
                      </a:lnTo>
                      <a:lnTo>
                        <a:pt x="745" y="1003"/>
                      </a:lnTo>
                      <a:lnTo>
                        <a:pt x="727" y="1009"/>
                      </a:lnTo>
                      <a:lnTo>
                        <a:pt x="718" y="1022"/>
                      </a:lnTo>
                      <a:lnTo>
                        <a:pt x="712" y="1042"/>
                      </a:lnTo>
                      <a:lnTo>
                        <a:pt x="669" y="1057"/>
                      </a:lnTo>
                      <a:lnTo>
                        <a:pt x="659" y="1079"/>
                      </a:lnTo>
                      <a:lnTo>
                        <a:pt x="659" y="1110"/>
                      </a:lnTo>
                      <a:lnTo>
                        <a:pt x="671" y="1141"/>
                      </a:lnTo>
                      <a:lnTo>
                        <a:pt x="673" y="1156"/>
                      </a:lnTo>
                      <a:lnTo>
                        <a:pt x="657" y="1162"/>
                      </a:lnTo>
                      <a:lnTo>
                        <a:pt x="650" y="1146"/>
                      </a:lnTo>
                      <a:lnTo>
                        <a:pt x="621" y="1145"/>
                      </a:lnTo>
                      <a:lnTo>
                        <a:pt x="599" y="1137"/>
                      </a:lnTo>
                      <a:lnTo>
                        <a:pt x="592" y="1146"/>
                      </a:lnTo>
                      <a:lnTo>
                        <a:pt x="574" y="1148"/>
                      </a:lnTo>
                      <a:lnTo>
                        <a:pt x="551" y="1150"/>
                      </a:lnTo>
                      <a:lnTo>
                        <a:pt x="529" y="1152"/>
                      </a:lnTo>
                      <a:lnTo>
                        <a:pt x="510" y="1164"/>
                      </a:lnTo>
                      <a:lnTo>
                        <a:pt x="491" y="1176"/>
                      </a:lnTo>
                      <a:lnTo>
                        <a:pt x="464" y="1174"/>
                      </a:lnTo>
                      <a:lnTo>
                        <a:pt x="440" y="1156"/>
                      </a:lnTo>
                      <a:lnTo>
                        <a:pt x="417" y="1152"/>
                      </a:lnTo>
                      <a:lnTo>
                        <a:pt x="403" y="1166"/>
                      </a:lnTo>
                      <a:lnTo>
                        <a:pt x="398" y="1176"/>
                      </a:lnTo>
                      <a:lnTo>
                        <a:pt x="386" y="1181"/>
                      </a:lnTo>
                      <a:lnTo>
                        <a:pt x="369" y="1172"/>
                      </a:lnTo>
                      <a:lnTo>
                        <a:pt x="359" y="1154"/>
                      </a:lnTo>
                      <a:lnTo>
                        <a:pt x="343" y="1148"/>
                      </a:lnTo>
                      <a:lnTo>
                        <a:pt x="324" y="1148"/>
                      </a:lnTo>
                      <a:lnTo>
                        <a:pt x="305" y="1156"/>
                      </a:lnTo>
                      <a:lnTo>
                        <a:pt x="293" y="1148"/>
                      </a:lnTo>
                      <a:lnTo>
                        <a:pt x="273" y="1137"/>
                      </a:lnTo>
                      <a:lnTo>
                        <a:pt x="254" y="1127"/>
                      </a:lnTo>
                      <a:lnTo>
                        <a:pt x="235" y="1123"/>
                      </a:lnTo>
                      <a:lnTo>
                        <a:pt x="184" y="1127"/>
                      </a:lnTo>
                      <a:lnTo>
                        <a:pt x="161" y="1127"/>
                      </a:lnTo>
                      <a:lnTo>
                        <a:pt x="134" y="1127"/>
                      </a:lnTo>
                      <a:lnTo>
                        <a:pt x="118" y="1129"/>
                      </a:lnTo>
                      <a:lnTo>
                        <a:pt x="105" y="1117"/>
                      </a:lnTo>
                      <a:lnTo>
                        <a:pt x="101" y="1110"/>
                      </a:lnTo>
                      <a:lnTo>
                        <a:pt x="101" y="1092"/>
                      </a:lnTo>
                      <a:lnTo>
                        <a:pt x="103" y="1067"/>
                      </a:lnTo>
                      <a:lnTo>
                        <a:pt x="109" y="1040"/>
                      </a:lnTo>
                      <a:lnTo>
                        <a:pt x="128" y="995"/>
                      </a:lnTo>
                      <a:lnTo>
                        <a:pt x="136" y="972"/>
                      </a:lnTo>
                      <a:lnTo>
                        <a:pt x="155" y="953"/>
                      </a:lnTo>
                      <a:lnTo>
                        <a:pt x="173" y="933"/>
                      </a:lnTo>
                      <a:lnTo>
                        <a:pt x="178" y="912"/>
                      </a:lnTo>
                      <a:lnTo>
                        <a:pt x="155" y="898"/>
                      </a:lnTo>
                      <a:lnTo>
                        <a:pt x="128" y="887"/>
                      </a:lnTo>
                      <a:lnTo>
                        <a:pt x="83" y="867"/>
                      </a:lnTo>
                      <a:lnTo>
                        <a:pt x="68" y="863"/>
                      </a:lnTo>
                      <a:lnTo>
                        <a:pt x="47" y="859"/>
                      </a:lnTo>
                      <a:lnTo>
                        <a:pt x="39" y="840"/>
                      </a:lnTo>
                      <a:lnTo>
                        <a:pt x="29" y="825"/>
                      </a:lnTo>
                      <a:lnTo>
                        <a:pt x="17" y="813"/>
                      </a:lnTo>
                      <a:lnTo>
                        <a:pt x="8" y="801"/>
                      </a:lnTo>
                      <a:lnTo>
                        <a:pt x="8" y="803"/>
                      </a:lnTo>
                      <a:lnTo>
                        <a:pt x="17" y="790"/>
                      </a:lnTo>
                      <a:lnTo>
                        <a:pt x="17" y="770"/>
                      </a:lnTo>
                      <a:lnTo>
                        <a:pt x="14" y="757"/>
                      </a:lnTo>
                      <a:lnTo>
                        <a:pt x="6" y="741"/>
                      </a:lnTo>
                      <a:lnTo>
                        <a:pt x="8" y="728"/>
                      </a:lnTo>
                      <a:lnTo>
                        <a:pt x="14" y="716"/>
                      </a:lnTo>
                      <a:lnTo>
                        <a:pt x="0" y="704"/>
                      </a:lnTo>
                      <a:lnTo>
                        <a:pt x="0" y="706"/>
                      </a:lnTo>
                      <a:lnTo>
                        <a:pt x="21" y="679"/>
                      </a:lnTo>
                      <a:lnTo>
                        <a:pt x="23" y="664"/>
                      </a:lnTo>
                      <a:lnTo>
                        <a:pt x="17" y="646"/>
                      </a:lnTo>
                      <a:lnTo>
                        <a:pt x="16" y="631"/>
                      </a:lnTo>
                      <a:lnTo>
                        <a:pt x="16" y="627"/>
                      </a:lnTo>
                      <a:lnTo>
                        <a:pt x="8" y="615"/>
                      </a:lnTo>
                      <a:lnTo>
                        <a:pt x="10" y="603"/>
                      </a:lnTo>
                      <a:lnTo>
                        <a:pt x="8" y="590"/>
                      </a:lnTo>
                      <a:lnTo>
                        <a:pt x="6" y="572"/>
                      </a:lnTo>
                      <a:lnTo>
                        <a:pt x="8" y="559"/>
                      </a:lnTo>
                      <a:lnTo>
                        <a:pt x="21" y="547"/>
                      </a:lnTo>
                      <a:lnTo>
                        <a:pt x="25" y="514"/>
                      </a:lnTo>
                      <a:lnTo>
                        <a:pt x="29" y="495"/>
                      </a:lnTo>
                      <a:lnTo>
                        <a:pt x="29" y="475"/>
                      </a:lnTo>
                      <a:lnTo>
                        <a:pt x="27" y="448"/>
                      </a:lnTo>
                      <a:lnTo>
                        <a:pt x="29" y="435"/>
                      </a:lnTo>
                      <a:lnTo>
                        <a:pt x="47" y="437"/>
                      </a:lnTo>
                      <a:lnTo>
                        <a:pt x="68" y="448"/>
                      </a:lnTo>
                      <a:lnTo>
                        <a:pt x="81" y="446"/>
                      </a:lnTo>
                      <a:lnTo>
                        <a:pt x="93" y="431"/>
                      </a:lnTo>
                      <a:lnTo>
                        <a:pt x="97" y="411"/>
                      </a:lnTo>
                      <a:lnTo>
                        <a:pt x="116" y="400"/>
                      </a:lnTo>
                      <a:lnTo>
                        <a:pt x="130" y="386"/>
                      </a:lnTo>
                      <a:lnTo>
                        <a:pt x="136" y="367"/>
                      </a:lnTo>
                      <a:lnTo>
                        <a:pt x="105" y="347"/>
                      </a:lnTo>
                      <a:lnTo>
                        <a:pt x="105" y="332"/>
                      </a:lnTo>
                      <a:lnTo>
                        <a:pt x="113" y="328"/>
                      </a:lnTo>
                      <a:lnTo>
                        <a:pt x="132" y="316"/>
                      </a:lnTo>
                      <a:lnTo>
                        <a:pt x="138" y="299"/>
                      </a:lnTo>
                      <a:lnTo>
                        <a:pt x="144" y="282"/>
                      </a:lnTo>
                      <a:lnTo>
                        <a:pt x="149" y="264"/>
                      </a:lnTo>
                      <a:lnTo>
                        <a:pt x="155" y="249"/>
                      </a:lnTo>
                      <a:lnTo>
                        <a:pt x="157" y="241"/>
                      </a:lnTo>
                      <a:lnTo>
                        <a:pt x="184" y="239"/>
                      </a:lnTo>
                      <a:lnTo>
                        <a:pt x="190" y="252"/>
                      </a:lnTo>
                      <a:lnTo>
                        <a:pt x="194" y="256"/>
                      </a:lnTo>
                      <a:lnTo>
                        <a:pt x="190" y="239"/>
                      </a:lnTo>
                      <a:lnTo>
                        <a:pt x="184" y="231"/>
                      </a:lnTo>
                      <a:lnTo>
                        <a:pt x="175" y="223"/>
                      </a:lnTo>
                      <a:lnTo>
                        <a:pt x="165" y="219"/>
                      </a:lnTo>
                      <a:lnTo>
                        <a:pt x="159" y="216"/>
                      </a:lnTo>
                      <a:lnTo>
                        <a:pt x="157" y="212"/>
                      </a:lnTo>
                      <a:lnTo>
                        <a:pt x="163" y="200"/>
                      </a:lnTo>
                      <a:lnTo>
                        <a:pt x="171" y="194"/>
                      </a:lnTo>
                      <a:lnTo>
                        <a:pt x="178" y="181"/>
                      </a:lnTo>
                      <a:lnTo>
                        <a:pt x="196" y="179"/>
                      </a:lnTo>
                      <a:lnTo>
                        <a:pt x="225" y="179"/>
                      </a:lnTo>
                      <a:lnTo>
                        <a:pt x="250" y="186"/>
                      </a:lnTo>
                      <a:lnTo>
                        <a:pt x="258" y="202"/>
                      </a:lnTo>
                      <a:lnTo>
                        <a:pt x="258" y="223"/>
                      </a:lnTo>
                      <a:lnTo>
                        <a:pt x="272" y="223"/>
                      </a:lnTo>
                      <a:lnTo>
                        <a:pt x="273" y="206"/>
                      </a:lnTo>
                      <a:lnTo>
                        <a:pt x="285" y="212"/>
                      </a:lnTo>
                      <a:lnTo>
                        <a:pt x="293" y="233"/>
                      </a:lnTo>
                      <a:lnTo>
                        <a:pt x="301" y="247"/>
                      </a:lnTo>
                      <a:lnTo>
                        <a:pt x="293" y="212"/>
                      </a:lnTo>
                      <a:lnTo>
                        <a:pt x="295" y="200"/>
                      </a:lnTo>
                      <a:lnTo>
                        <a:pt x="297" y="181"/>
                      </a:lnTo>
                      <a:lnTo>
                        <a:pt x="301" y="175"/>
                      </a:lnTo>
                      <a:lnTo>
                        <a:pt x="308" y="163"/>
                      </a:lnTo>
                      <a:lnTo>
                        <a:pt x="318" y="165"/>
                      </a:lnTo>
                      <a:lnTo>
                        <a:pt x="345" y="165"/>
                      </a:lnTo>
                      <a:lnTo>
                        <a:pt x="349" y="161"/>
                      </a:lnTo>
                      <a:lnTo>
                        <a:pt x="337" y="154"/>
                      </a:lnTo>
                      <a:lnTo>
                        <a:pt x="328" y="144"/>
                      </a:lnTo>
                      <a:lnTo>
                        <a:pt x="330" y="132"/>
                      </a:lnTo>
                      <a:lnTo>
                        <a:pt x="337" y="130"/>
                      </a:lnTo>
                      <a:lnTo>
                        <a:pt x="339" y="124"/>
                      </a:lnTo>
                      <a:lnTo>
                        <a:pt x="334" y="117"/>
                      </a:lnTo>
                      <a:lnTo>
                        <a:pt x="330" y="107"/>
                      </a:lnTo>
                      <a:lnTo>
                        <a:pt x="334" y="97"/>
                      </a:lnTo>
                      <a:lnTo>
                        <a:pt x="326" y="91"/>
                      </a:lnTo>
                      <a:lnTo>
                        <a:pt x="316" y="90"/>
                      </a:lnTo>
                      <a:lnTo>
                        <a:pt x="324" y="82"/>
                      </a:lnTo>
                      <a:lnTo>
                        <a:pt x="324" y="76"/>
                      </a:lnTo>
                      <a:lnTo>
                        <a:pt x="337" y="70"/>
                      </a:lnTo>
                      <a:lnTo>
                        <a:pt x="347" y="64"/>
                      </a:lnTo>
                      <a:lnTo>
                        <a:pt x="343" y="53"/>
                      </a:lnTo>
                      <a:lnTo>
                        <a:pt x="336" y="41"/>
                      </a:lnTo>
                      <a:lnTo>
                        <a:pt x="330" y="27"/>
                      </a:lnTo>
                      <a:lnTo>
                        <a:pt x="324" y="16"/>
                      </a:lnTo>
                      <a:lnTo>
                        <a:pt x="326" y="8"/>
                      </a:lnTo>
                      <a:lnTo>
                        <a:pt x="326" y="0"/>
                      </a:lnTo>
                      <a:lnTo>
                        <a:pt x="339" y="0"/>
                      </a:lnTo>
                      <a:lnTo>
                        <a:pt x="376" y="14"/>
                      </a:lnTo>
                      <a:lnTo>
                        <a:pt x="388" y="8"/>
                      </a:lnTo>
                      <a:lnTo>
                        <a:pt x="398" y="8"/>
                      </a:lnTo>
                      <a:lnTo>
                        <a:pt x="392" y="8"/>
                      </a:lnTo>
                      <a:lnTo>
                        <a:pt x="388" y="16"/>
                      </a:lnTo>
                      <a:lnTo>
                        <a:pt x="401" y="16"/>
                      </a:lnTo>
                      <a:lnTo>
                        <a:pt x="413" y="22"/>
                      </a:lnTo>
                      <a:lnTo>
                        <a:pt x="425" y="27"/>
                      </a:lnTo>
                      <a:lnTo>
                        <a:pt x="433" y="45"/>
                      </a:lnTo>
                      <a:lnTo>
                        <a:pt x="433" y="58"/>
                      </a:lnTo>
                      <a:lnTo>
                        <a:pt x="421" y="72"/>
                      </a:lnTo>
                      <a:lnTo>
                        <a:pt x="425" y="78"/>
                      </a:lnTo>
                      <a:lnTo>
                        <a:pt x="438" y="80"/>
                      </a:lnTo>
                      <a:lnTo>
                        <a:pt x="438" y="91"/>
                      </a:lnTo>
                      <a:lnTo>
                        <a:pt x="448" y="91"/>
                      </a:lnTo>
                      <a:lnTo>
                        <a:pt x="454" y="84"/>
                      </a:lnTo>
                      <a:lnTo>
                        <a:pt x="475" y="91"/>
                      </a:lnTo>
                      <a:lnTo>
                        <a:pt x="481" y="103"/>
                      </a:lnTo>
                      <a:lnTo>
                        <a:pt x="491" y="103"/>
                      </a:lnTo>
                      <a:lnTo>
                        <a:pt x="510" y="99"/>
                      </a:lnTo>
                      <a:lnTo>
                        <a:pt x="520" y="95"/>
                      </a:lnTo>
                      <a:lnTo>
                        <a:pt x="526" y="101"/>
                      </a:lnTo>
                      <a:lnTo>
                        <a:pt x="526" y="117"/>
                      </a:lnTo>
                      <a:lnTo>
                        <a:pt x="516" y="128"/>
                      </a:lnTo>
                      <a:lnTo>
                        <a:pt x="502" y="136"/>
                      </a:lnTo>
                      <a:lnTo>
                        <a:pt x="497" y="150"/>
                      </a:lnTo>
                      <a:lnTo>
                        <a:pt x="498" y="159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</a:schemeClr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1" name="Freeform 21"/>
                <p:cNvSpPr>
                  <a:spLocks/>
                </p:cNvSpPr>
                <p:nvPr/>
              </p:nvSpPr>
              <p:spPr bwMode="gray">
                <a:xfrm>
                  <a:off x="3057475" y="2857589"/>
                  <a:ext cx="1708175" cy="1822361"/>
                </a:xfrm>
                <a:custGeom>
                  <a:avLst/>
                  <a:gdLst>
                    <a:gd name="T0" fmla="*/ 4662 w 1342"/>
                    <a:gd name="T1" fmla="*/ 1371 h 1429"/>
                    <a:gd name="T2" fmla="*/ 4470 w 1342"/>
                    <a:gd name="T3" fmla="*/ 1180 h 1429"/>
                    <a:gd name="T4" fmla="*/ 4418 w 1342"/>
                    <a:gd name="T5" fmla="*/ 898 h 1429"/>
                    <a:gd name="T6" fmla="*/ 4353 w 1342"/>
                    <a:gd name="T7" fmla="*/ 763 h 1429"/>
                    <a:gd name="T8" fmla="*/ 4363 w 1342"/>
                    <a:gd name="T9" fmla="*/ 515 h 1429"/>
                    <a:gd name="T10" fmla="*/ 3808 w 1342"/>
                    <a:gd name="T11" fmla="*/ 359 h 1429"/>
                    <a:gd name="T12" fmla="*/ 3556 w 1342"/>
                    <a:gd name="T13" fmla="*/ 65 h 1429"/>
                    <a:gd name="T14" fmla="*/ 3302 w 1342"/>
                    <a:gd name="T15" fmla="*/ 54 h 1429"/>
                    <a:gd name="T16" fmla="*/ 2632 w 1342"/>
                    <a:gd name="T17" fmla="*/ 196 h 1429"/>
                    <a:gd name="T18" fmla="*/ 2458 w 1342"/>
                    <a:gd name="T19" fmla="*/ 342 h 1429"/>
                    <a:gd name="T20" fmla="*/ 2291 w 1342"/>
                    <a:gd name="T21" fmla="*/ 602 h 1429"/>
                    <a:gd name="T22" fmla="*/ 1761 w 1342"/>
                    <a:gd name="T23" fmla="*/ 448 h 1429"/>
                    <a:gd name="T24" fmla="*/ 1438 w 1342"/>
                    <a:gd name="T25" fmla="*/ 890 h 1429"/>
                    <a:gd name="T26" fmla="*/ 1075 w 1342"/>
                    <a:gd name="T27" fmla="*/ 510 h 1429"/>
                    <a:gd name="T28" fmla="*/ 806 w 1342"/>
                    <a:gd name="T29" fmla="*/ 839 h 1429"/>
                    <a:gd name="T30" fmla="*/ 360 w 1342"/>
                    <a:gd name="T31" fmla="*/ 861 h 1429"/>
                    <a:gd name="T32" fmla="*/ 148 w 1342"/>
                    <a:gd name="T33" fmla="*/ 971 h 1429"/>
                    <a:gd name="T34" fmla="*/ 103 w 1342"/>
                    <a:gd name="T35" fmla="*/ 1476 h 1429"/>
                    <a:gd name="T36" fmla="*/ 60 w 1342"/>
                    <a:gd name="T37" fmla="*/ 1764 h 1429"/>
                    <a:gd name="T38" fmla="*/ 87 w 1342"/>
                    <a:gd name="T39" fmla="*/ 2285 h 1429"/>
                    <a:gd name="T40" fmla="*/ 462 w 1342"/>
                    <a:gd name="T41" fmla="*/ 2548 h 1429"/>
                    <a:gd name="T42" fmla="*/ 639 w 1342"/>
                    <a:gd name="T43" fmla="*/ 2802 h 1429"/>
                    <a:gd name="T44" fmla="*/ 1049 w 1342"/>
                    <a:gd name="T45" fmla="*/ 2468 h 1429"/>
                    <a:gd name="T46" fmla="*/ 1507 w 1342"/>
                    <a:gd name="T47" fmla="*/ 2370 h 1429"/>
                    <a:gd name="T48" fmla="*/ 2214 w 1342"/>
                    <a:gd name="T49" fmla="*/ 3000 h 1429"/>
                    <a:gd name="T50" fmla="*/ 2403 w 1342"/>
                    <a:gd name="T51" fmla="*/ 3715 h 1429"/>
                    <a:gd name="T52" fmla="*/ 2932 w 1342"/>
                    <a:gd name="T53" fmla="*/ 4266 h 1429"/>
                    <a:gd name="T54" fmla="*/ 3389 w 1342"/>
                    <a:gd name="T55" fmla="*/ 4751 h 1429"/>
                    <a:gd name="T56" fmla="*/ 4080 w 1342"/>
                    <a:gd name="T57" fmla="*/ 5373 h 1429"/>
                    <a:gd name="T58" fmla="*/ 4722 w 1342"/>
                    <a:gd name="T59" fmla="*/ 5763 h 1429"/>
                    <a:gd name="T60" fmla="*/ 5172 w 1342"/>
                    <a:gd name="T61" fmla="*/ 5963 h 1429"/>
                    <a:gd name="T62" fmla="*/ 5322 w 1342"/>
                    <a:gd name="T63" fmla="*/ 6288 h 1429"/>
                    <a:gd name="T64" fmla="*/ 5724 w 1342"/>
                    <a:gd name="T65" fmla="*/ 6483 h 1429"/>
                    <a:gd name="T66" fmla="*/ 5886 w 1342"/>
                    <a:gd name="T67" fmla="*/ 6710 h 1429"/>
                    <a:gd name="T68" fmla="*/ 6184 w 1342"/>
                    <a:gd name="T69" fmla="*/ 7463 h 1429"/>
                    <a:gd name="T70" fmla="*/ 6032 w 1342"/>
                    <a:gd name="T71" fmla="*/ 7959 h 1429"/>
                    <a:gd name="T72" fmla="*/ 5932 w 1342"/>
                    <a:gd name="T73" fmla="*/ 8467 h 1429"/>
                    <a:gd name="T74" fmla="*/ 6210 w 1342"/>
                    <a:gd name="T75" fmla="*/ 8381 h 1429"/>
                    <a:gd name="T76" fmla="*/ 6526 w 1342"/>
                    <a:gd name="T77" fmla="*/ 7984 h 1429"/>
                    <a:gd name="T78" fmla="*/ 6800 w 1342"/>
                    <a:gd name="T79" fmla="*/ 7507 h 1429"/>
                    <a:gd name="T80" fmla="*/ 6864 w 1342"/>
                    <a:gd name="T81" fmla="*/ 7224 h 1429"/>
                    <a:gd name="T82" fmla="*/ 6603 w 1342"/>
                    <a:gd name="T83" fmla="*/ 6868 h 1429"/>
                    <a:gd name="T84" fmla="*/ 6615 w 1342"/>
                    <a:gd name="T85" fmla="*/ 6251 h 1429"/>
                    <a:gd name="T86" fmla="*/ 7304 w 1342"/>
                    <a:gd name="T87" fmla="*/ 6251 h 1429"/>
                    <a:gd name="T88" fmla="*/ 7740 w 1342"/>
                    <a:gd name="T89" fmla="*/ 6657 h 1429"/>
                    <a:gd name="T90" fmla="*/ 7704 w 1342"/>
                    <a:gd name="T91" fmla="*/ 6209 h 1429"/>
                    <a:gd name="T92" fmla="*/ 6967 w 1342"/>
                    <a:gd name="T93" fmla="*/ 5700 h 1429"/>
                    <a:gd name="T94" fmla="*/ 6148 w 1342"/>
                    <a:gd name="T95" fmla="*/ 5261 h 1429"/>
                    <a:gd name="T96" fmla="*/ 6053 w 1342"/>
                    <a:gd name="T97" fmla="*/ 5030 h 1429"/>
                    <a:gd name="T98" fmla="*/ 6002 w 1342"/>
                    <a:gd name="T99" fmla="*/ 4751 h 1429"/>
                    <a:gd name="T100" fmla="*/ 5786 w 1342"/>
                    <a:gd name="T101" fmla="*/ 4795 h 1429"/>
                    <a:gd name="T102" fmla="*/ 5346 w 1342"/>
                    <a:gd name="T103" fmla="*/ 4732 h 1429"/>
                    <a:gd name="T104" fmla="*/ 5061 w 1342"/>
                    <a:gd name="T105" fmla="*/ 4537 h 1429"/>
                    <a:gd name="T106" fmla="*/ 4618 w 1342"/>
                    <a:gd name="T107" fmla="*/ 3881 h 1429"/>
                    <a:gd name="T108" fmla="*/ 4422 w 1342"/>
                    <a:gd name="T109" fmla="*/ 3344 h 1429"/>
                    <a:gd name="T110" fmla="*/ 4242 w 1342"/>
                    <a:gd name="T111" fmla="*/ 3140 h 1429"/>
                    <a:gd name="T112" fmla="*/ 3808 w 1342"/>
                    <a:gd name="T113" fmla="*/ 2853 h 1429"/>
                    <a:gd name="T114" fmla="*/ 3600 w 1342"/>
                    <a:gd name="T115" fmla="*/ 2273 h 1429"/>
                    <a:gd name="T116" fmla="*/ 3671 w 1342"/>
                    <a:gd name="T117" fmla="*/ 1857 h 1429"/>
                    <a:gd name="T118" fmla="*/ 3723 w 1342"/>
                    <a:gd name="T119" fmla="*/ 1463 h 1429"/>
                    <a:gd name="T120" fmla="*/ 4146 w 1342"/>
                    <a:gd name="T121" fmla="*/ 1340 h 1429"/>
                    <a:gd name="T122" fmla="*/ 4531 w 1342"/>
                    <a:gd name="T123" fmla="*/ 1340 h 142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0" t="0" r="r" b="b"/>
                  <a:pathLst>
                    <a:path w="1342" h="1429">
                      <a:moveTo>
                        <a:pt x="768" y="244"/>
                      </a:moveTo>
                      <a:lnTo>
                        <a:pt x="778" y="246"/>
                      </a:lnTo>
                      <a:lnTo>
                        <a:pt x="789" y="244"/>
                      </a:lnTo>
                      <a:lnTo>
                        <a:pt x="797" y="238"/>
                      </a:lnTo>
                      <a:lnTo>
                        <a:pt x="799" y="230"/>
                      </a:lnTo>
                      <a:lnTo>
                        <a:pt x="795" y="221"/>
                      </a:lnTo>
                      <a:lnTo>
                        <a:pt x="787" y="217"/>
                      </a:lnTo>
                      <a:lnTo>
                        <a:pt x="783" y="207"/>
                      </a:lnTo>
                      <a:lnTo>
                        <a:pt x="776" y="205"/>
                      </a:lnTo>
                      <a:lnTo>
                        <a:pt x="766" y="199"/>
                      </a:lnTo>
                      <a:lnTo>
                        <a:pt x="762" y="196"/>
                      </a:lnTo>
                      <a:lnTo>
                        <a:pt x="762" y="178"/>
                      </a:lnTo>
                      <a:lnTo>
                        <a:pt x="758" y="178"/>
                      </a:lnTo>
                      <a:lnTo>
                        <a:pt x="754" y="166"/>
                      </a:lnTo>
                      <a:lnTo>
                        <a:pt x="756" y="151"/>
                      </a:lnTo>
                      <a:lnTo>
                        <a:pt x="762" y="137"/>
                      </a:lnTo>
                      <a:lnTo>
                        <a:pt x="758" y="137"/>
                      </a:lnTo>
                      <a:lnTo>
                        <a:pt x="750" y="139"/>
                      </a:lnTo>
                      <a:lnTo>
                        <a:pt x="745" y="137"/>
                      </a:lnTo>
                      <a:lnTo>
                        <a:pt x="745" y="128"/>
                      </a:lnTo>
                      <a:lnTo>
                        <a:pt x="750" y="112"/>
                      </a:lnTo>
                      <a:lnTo>
                        <a:pt x="760" y="104"/>
                      </a:lnTo>
                      <a:lnTo>
                        <a:pt x="772" y="95"/>
                      </a:lnTo>
                      <a:lnTo>
                        <a:pt x="756" y="93"/>
                      </a:lnTo>
                      <a:lnTo>
                        <a:pt x="747" y="87"/>
                      </a:lnTo>
                      <a:lnTo>
                        <a:pt x="729" y="83"/>
                      </a:lnTo>
                      <a:lnTo>
                        <a:pt x="706" y="81"/>
                      </a:lnTo>
                      <a:lnTo>
                        <a:pt x="688" y="77"/>
                      </a:lnTo>
                      <a:lnTo>
                        <a:pt x="669" y="75"/>
                      </a:lnTo>
                      <a:lnTo>
                        <a:pt x="652" y="60"/>
                      </a:lnTo>
                      <a:lnTo>
                        <a:pt x="642" y="58"/>
                      </a:lnTo>
                      <a:lnTo>
                        <a:pt x="628" y="50"/>
                      </a:lnTo>
                      <a:lnTo>
                        <a:pt x="621" y="42"/>
                      </a:lnTo>
                      <a:lnTo>
                        <a:pt x="613" y="29"/>
                      </a:lnTo>
                      <a:lnTo>
                        <a:pt x="609" y="11"/>
                      </a:lnTo>
                      <a:lnTo>
                        <a:pt x="611" y="4"/>
                      </a:lnTo>
                      <a:lnTo>
                        <a:pt x="607" y="0"/>
                      </a:lnTo>
                      <a:lnTo>
                        <a:pt x="595" y="0"/>
                      </a:lnTo>
                      <a:lnTo>
                        <a:pt x="586" y="7"/>
                      </a:lnTo>
                      <a:lnTo>
                        <a:pt x="566" y="9"/>
                      </a:lnTo>
                      <a:lnTo>
                        <a:pt x="529" y="9"/>
                      </a:lnTo>
                      <a:lnTo>
                        <a:pt x="504" y="19"/>
                      </a:lnTo>
                      <a:lnTo>
                        <a:pt x="491" y="25"/>
                      </a:lnTo>
                      <a:lnTo>
                        <a:pt x="460" y="33"/>
                      </a:lnTo>
                      <a:lnTo>
                        <a:pt x="450" y="33"/>
                      </a:lnTo>
                      <a:lnTo>
                        <a:pt x="432" y="27"/>
                      </a:lnTo>
                      <a:lnTo>
                        <a:pt x="427" y="23"/>
                      </a:lnTo>
                      <a:lnTo>
                        <a:pt x="421" y="33"/>
                      </a:lnTo>
                      <a:lnTo>
                        <a:pt x="419" y="42"/>
                      </a:lnTo>
                      <a:lnTo>
                        <a:pt x="421" y="58"/>
                      </a:lnTo>
                      <a:lnTo>
                        <a:pt x="411" y="62"/>
                      </a:lnTo>
                      <a:lnTo>
                        <a:pt x="390" y="62"/>
                      </a:lnTo>
                      <a:lnTo>
                        <a:pt x="386" y="75"/>
                      </a:lnTo>
                      <a:lnTo>
                        <a:pt x="386" y="87"/>
                      </a:lnTo>
                      <a:lnTo>
                        <a:pt x="392" y="101"/>
                      </a:lnTo>
                      <a:lnTo>
                        <a:pt x="388" y="108"/>
                      </a:lnTo>
                      <a:lnTo>
                        <a:pt x="347" y="99"/>
                      </a:lnTo>
                      <a:lnTo>
                        <a:pt x="324" y="95"/>
                      </a:lnTo>
                      <a:lnTo>
                        <a:pt x="314" y="83"/>
                      </a:lnTo>
                      <a:lnTo>
                        <a:pt x="301" y="75"/>
                      </a:lnTo>
                      <a:lnTo>
                        <a:pt x="293" y="97"/>
                      </a:lnTo>
                      <a:lnTo>
                        <a:pt x="271" y="132"/>
                      </a:lnTo>
                      <a:lnTo>
                        <a:pt x="264" y="151"/>
                      </a:lnTo>
                      <a:lnTo>
                        <a:pt x="258" y="159"/>
                      </a:lnTo>
                      <a:lnTo>
                        <a:pt x="246" y="149"/>
                      </a:lnTo>
                      <a:lnTo>
                        <a:pt x="235" y="132"/>
                      </a:lnTo>
                      <a:lnTo>
                        <a:pt x="213" y="114"/>
                      </a:lnTo>
                      <a:lnTo>
                        <a:pt x="207" y="87"/>
                      </a:lnTo>
                      <a:lnTo>
                        <a:pt x="206" y="75"/>
                      </a:lnTo>
                      <a:lnTo>
                        <a:pt x="184" y="85"/>
                      </a:lnTo>
                      <a:lnTo>
                        <a:pt x="171" y="99"/>
                      </a:lnTo>
                      <a:lnTo>
                        <a:pt x="169" y="116"/>
                      </a:lnTo>
                      <a:lnTo>
                        <a:pt x="161" y="126"/>
                      </a:lnTo>
                      <a:lnTo>
                        <a:pt x="145" y="134"/>
                      </a:lnTo>
                      <a:lnTo>
                        <a:pt x="138" y="141"/>
                      </a:lnTo>
                      <a:lnTo>
                        <a:pt x="112" y="137"/>
                      </a:lnTo>
                      <a:lnTo>
                        <a:pt x="103" y="137"/>
                      </a:lnTo>
                      <a:lnTo>
                        <a:pt x="95" y="137"/>
                      </a:lnTo>
                      <a:lnTo>
                        <a:pt x="78" y="141"/>
                      </a:lnTo>
                      <a:lnTo>
                        <a:pt x="62" y="145"/>
                      </a:lnTo>
                      <a:lnTo>
                        <a:pt x="45" y="143"/>
                      </a:lnTo>
                      <a:lnTo>
                        <a:pt x="33" y="141"/>
                      </a:lnTo>
                      <a:lnTo>
                        <a:pt x="25" y="141"/>
                      </a:lnTo>
                      <a:lnTo>
                        <a:pt x="21" y="151"/>
                      </a:lnTo>
                      <a:lnTo>
                        <a:pt x="25" y="163"/>
                      </a:lnTo>
                      <a:lnTo>
                        <a:pt x="27" y="176"/>
                      </a:lnTo>
                      <a:lnTo>
                        <a:pt x="35" y="199"/>
                      </a:lnTo>
                      <a:lnTo>
                        <a:pt x="39" y="217"/>
                      </a:lnTo>
                      <a:lnTo>
                        <a:pt x="43" y="234"/>
                      </a:lnTo>
                      <a:lnTo>
                        <a:pt x="17" y="248"/>
                      </a:lnTo>
                      <a:lnTo>
                        <a:pt x="6" y="260"/>
                      </a:lnTo>
                      <a:lnTo>
                        <a:pt x="0" y="275"/>
                      </a:lnTo>
                      <a:lnTo>
                        <a:pt x="0" y="287"/>
                      </a:lnTo>
                      <a:lnTo>
                        <a:pt x="4" y="294"/>
                      </a:lnTo>
                      <a:lnTo>
                        <a:pt x="10" y="296"/>
                      </a:lnTo>
                      <a:lnTo>
                        <a:pt x="19" y="304"/>
                      </a:lnTo>
                      <a:lnTo>
                        <a:pt x="19" y="318"/>
                      </a:lnTo>
                      <a:lnTo>
                        <a:pt x="14" y="337"/>
                      </a:lnTo>
                      <a:lnTo>
                        <a:pt x="12" y="360"/>
                      </a:lnTo>
                      <a:lnTo>
                        <a:pt x="15" y="384"/>
                      </a:lnTo>
                      <a:lnTo>
                        <a:pt x="25" y="401"/>
                      </a:lnTo>
                      <a:lnTo>
                        <a:pt x="43" y="407"/>
                      </a:lnTo>
                      <a:lnTo>
                        <a:pt x="60" y="409"/>
                      </a:lnTo>
                      <a:lnTo>
                        <a:pt x="76" y="413"/>
                      </a:lnTo>
                      <a:lnTo>
                        <a:pt x="79" y="428"/>
                      </a:lnTo>
                      <a:lnTo>
                        <a:pt x="78" y="446"/>
                      </a:lnTo>
                      <a:lnTo>
                        <a:pt x="72" y="459"/>
                      </a:lnTo>
                      <a:lnTo>
                        <a:pt x="74" y="467"/>
                      </a:lnTo>
                      <a:lnTo>
                        <a:pt x="89" y="471"/>
                      </a:lnTo>
                      <a:lnTo>
                        <a:pt x="109" y="471"/>
                      </a:lnTo>
                      <a:lnTo>
                        <a:pt x="134" y="463"/>
                      </a:lnTo>
                      <a:lnTo>
                        <a:pt x="143" y="457"/>
                      </a:lnTo>
                      <a:lnTo>
                        <a:pt x="147" y="444"/>
                      </a:lnTo>
                      <a:lnTo>
                        <a:pt x="171" y="419"/>
                      </a:lnTo>
                      <a:lnTo>
                        <a:pt x="180" y="415"/>
                      </a:lnTo>
                      <a:lnTo>
                        <a:pt x="184" y="403"/>
                      </a:lnTo>
                      <a:lnTo>
                        <a:pt x="204" y="395"/>
                      </a:lnTo>
                      <a:lnTo>
                        <a:pt x="223" y="390"/>
                      </a:lnTo>
                      <a:lnTo>
                        <a:pt x="240" y="391"/>
                      </a:lnTo>
                      <a:lnTo>
                        <a:pt x="258" y="397"/>
                      </a:lnTo>
                      <a:lnTo>
                        <a:pt x="279" y="411"/>
                      </a:lnTo>
                      <a:lnTo>
                        <a:pt x="337" y="454"/>
                      </a:lnTo>
                      <a:lnTo>
                        <a:pt x="372" y="471"/>
                      </a:lnTo>
                      <a:lnTo>
                        <a:pt x="378" y="479"/>
                      </a:lnTo>
                      <a:lnTo>
                        <a:pt x="380" y="504"/>
                      </a:lnTo>
                      <a:lnTo>
                        <a:pt x="388" y="537"/>
                      </a:lnTo>
                      <a:lnTo>
                        <a:pt x="401" y="580"/>
                      </a:lnTo>
                      <a:lnTo>
                        <a:pt x="407" y="601"/>
                      </a:lnTo>
                      <a:lnTo>
                        <a:pt x="405" y="616"/>
                      </a:lnTo>
                      <a:lnTo>
                        <a:pt x="411" y="624"/>
                      </a:lnTo>
                      <a:lnTo>
                        <a:pt x="446" y="661"/>
                      </a:lnTo>
                      <a:lnTo>
                        <a:pt x="465" y="690"/>
                      </a:lnTo>
                      <a:lnTo>
                        <a:pt x="471" y="721"/>
                      </a:lnTo>
                      <a:lnTo>
                        <a:pt x="489" y="715"/>
                      </a:lnTo>
                      <a:lnTo>
                        <a:pt x="502" y="717"/>
                      </a:lnTo>
                      <a:lnTo>
                        <a:pt x="522" y="733"/>
                      </a:lnTo>
                      <a:lnTo>
                        <a:pt x="537" y="756"/>
                      </a:lnTo>
                      <a:lnTo>
                        <a:pt x="551" y="777"/>
                      </a:lnTo>
                      <a:lnTo>
                        <a:pt x="570" y="781"/>
                      </a:lnTo>
                      <a:lnTo>
                        <a:pt x="580" y="799"/>
                      </a:lnTo>
                      <a:lnTo>
                        <a:pt x="607" y="834"/>
                      </a:lnTo>
                      <a:lnTo>
                        <a:pt x="634" y="863"/>
                      </a:lnTo>
                      <a:lnTo>
                        <a:pt x="663" y="886"/>
                      </a:lnTo>
                      <a:lnTo>
                        <a:pt x="686" y="907"/>
                      </a:lnTo>
                      <a:lnTo>
                        <a:pt x="698" y="903"/>
                      </a:lnTo>
                      <a:lnTo>
                        <a:pt x="756" y="907"/>
                      </a:lnTo>
                      <a:lnTo>
                        <a:pt x="768" y="911"/>
                      </a:lnTo>
                      <a:lnTo>
                        <a:pt x="783" y="929"/>
                      </a:lnTo>
                      <a:lnTo>
                        <a:pt x="799" y="948"/>
                      </a:lnTo>
                      <a:lnTo>
                        <a:pt x="809" y="969"/>
                      </a:lnTo>
                      <a:lnTo>
                        <a:pt x="846" y="985"/>
                      </a:lnTo>
                      <a:lnTo>
                        <a:pt x="847" y="991"/>
                      </a:lnTo>
                      <a:lnTo>
                        <a:pt x="846" y="1006"/>
                      </a:lnTo>
                      <a:lnTo>
                        <a:pt x="867" y="1006"/>
                      </a:lnTo>
                      <a:lnTo>
                        <a:pt x="886" y="1002"/>
                      </a:lnTo>
                      <a:lnTo>
                        <a:pt x="898" y="1006"/>
                      </a:lnTo>
                      <a:lnTo>
                        <a:pt x="906" y="1018"/>
                      </a:lnTo>
                      <a:lnTo>
                        <a:pt x="915" y="1041"/>
                      </a:lnTo>
                      <a:lnTo>
                        <a:pt x="913" y="1051"/>
                      </a:lnTo>
                      <a:lnTo>
                        <a:pt x="911" y="1057"/>
                      </a:lnTo>
                      <a:lnTo>
                        <a:pt x="921" y="1074"/>
                      </a:lnTo>
                      <a:lnTo>
                        <a:pt x="946" y="1084"/>
                      </a:lnTo>
                      <a:lnTo>
                        <a:pt x="958" y="1094"/>
                      </a:lnTo>
                      <a:lnTo>
                        <a:pt x="970" y="1109"/>
                      </a:lnTo>
                      <a:lnTo>
                        <a:pt x="981" y="1090"/>
                      </a:lnTo>
                      <a:lnTo>
                        <a:pt x="993" y="1090"/>
                      </a:lnTo>
                      <a:lnTo>
                        <a:pt x="995" y="1095"/>
                      </a:lnTo>
                      <a:lnTo>
                        <a:pt x="1003" y="1105"/>
                      </a:lnTo>
                      <a:lnTo>
                        <a:pt x="1008" y="1115"/>
                      </a:lnTo>
                      <a:lnTo>
                        <a:pt x="1008" y="1128"/>
                      </a:lnTo>
                      <a:lnTo>
                        <a:pt x="1016" y="1158"/>
                      </a:lnTo>
                      <a:lnTo>
                        <a:pt x="1030" y="1179"/>
                      </a:lnTo>
                      <a:lnTo>
                        <a:pt x="1043" y="1200"/>
                      </a:lnTo>
                      <a:lnTo>
                        <a:pt x="1053" y="1239"/>
                      </a:lnTo>
                      <a:lnTo>
                        <a:pt x="1059" y="1254"/>
                      </a:lnTo>
                      <a:lnTo>
                        <a:pt x="1065" y="1274"/>
                      </a:lnTo>
                      <a:lnTo>
                        <a:pt x="1072" y="1286"/>
                      </a:lnTo>
                      <a:lnTo>
                        <a:pt x="1039" y="1301"/>
                      </a:lnTo>
                      <a:lnTo>
                        <a:pt x="1022" y="1313"/>
                      </a:lnTo>
                      <a:lnTo>
                        <a:pt x="1032" y="1338"/>
                      </a:lnTo>
                      <a:lnTo>
                        <a:pt x="1014" y="1361"/>
                      </a:lnTo>
                      <a:lnTo>
                        <a:pt x="1006" y="1384"/>
                      </a:lnTo>
                      <a:lnTo>
                        <a:pt x="1008" y="1412"/>
                      </a:lnTo>
                      <a:lnTo>
                        <a:pt x="1014" y="1427"/>
                      </a:lnTo>
                      <a:lnTo>
                        <a:pt x="1016" y="1423"/>
                      </a:lnTo>
                      <a:lnTo>
                        <a:pt x="1014" y="1429"/>
                      </a:lnTo>
                      <a:lnTo>
                        <a:pt x="1032" y="1429"/>
                      </a:lnTo>
                      <a:lnTo>
                        <a:pt x="1049" y="1427"/>
                      </a:lnTo>
                      <a:lnTo>
                        <a:pt x="1057" y="1421"/>
                      </a:lnTo>
                      <a:lnTo>
                        <a:pt x="1063" y="1408"/>
                      </a:lnTo>
                      <a:lnTo>
                        <a:pt x="1074" y="1382"/>
                      </a:lnTo>
                      <a:lnTo>
                        <a:pt x="1082" y="1373"/>
                      </a:lnTo>
                      <a:lnTo>
                        <a:pt x="1096" y="1359"/>
                      </a:lnTo>
                      <a:lnTo>
                        <a:pt x="1111" y="1355"/>
                      </a:lnTo>
                      <a:lnTo>
                        <a:pt x="1117" y="1342"/>
                      </a:lnTo>
                      <a:lnTo>
                        <a:pt x="1117" y="1315"/>
                      </a:lnTo>
                      <a:lnTo>
                        <a:pt x="1117" y="1293"/>
                      </a:lnTo>
                      <a:lnTo>
                        <a:pt x="1123" y="1282"/>
                      </a:lnTo>
                      <a:lnTo>
                        <a:pt x="1142" y="1276"/>
                      </a:lnTo>
                      <a:lnTo>
                        <a:pt x="1164" y="1262"/>
                      </a:lnTo>
                      <a:lnTo>
                        <a:pt x="1175" y="1262"/>
                      </a:lnTo>
                      <a:lnTo>
                        <a:pt x="1179" y="1253"/>
                      </a:lnTo>
                      <a:lnTo>
                        <a:pt x="1177" y="1241"/>
                      </a:lnTo>
                      <a:lnTo>
                        <a:pt x="1179" y="1223"/>
                      </a:lnTo>
                      <a:lnTo>
                        <a:pt x="1175" y="1214"/>
                      </a:lnTo>
                      <a:lnTo>
                        <a:pt x="1173" y="1192"/>
                      </a:lnTo>
                      <a:lnTo>
                        <a:pt x="1173" y="1190"/>
                      </a:lnTo>
                      <a:lnTo>
                        <a:pt x="1162" y="1179"/>
                      </a:lnTo>
                      <a:lnTo>
                        <a:pt x="1142" y="1167"/>
                      </a:lnTo>
                      <a:lnTo>
                        <a:pt x="1131" y="1154"/>
                      </a:lnTo>
                      <a:lnTo>
                        <a:pt x="1103" y="1144"/>
                      </a:lnTo>
                      <a:lnTo>
                        <a:pt x="1105" y="1121"/>
                      </a:lnTo>
                      <a:lnTo>
                        <a:pt x="1111" y="1095"/>
                      </a:lnTo>
                      <a:lnTo>
                        <a:pt x="1115" y="1078"/>
                      </a:lnTo>
                      <a:lnTo>
                        <a:pt x="1133" y="1051"/>
                      </a:lnTo>
                      <a:lnTo>
                        <a:pt x="1158" y="1024"/>
                      </a:lnTo>
                      <a:lnTo>
                        <a:pt x="1181" y="1018"/>
                      </a:lnTo>
                      <a:lnTo>
                        <a:pt x="1195" y="1028"/>
                      </a:lnTo>
                      <a:lnTo>
                        <a:pt x="1220" y="1043"/>
                      </a:lnTo>
                      <a:lnTo>
                        <a:pt x="1251" y="1051"/>
                      </a:lnTo>
                      <a:lnTo>
                        <a:pt x="1274" y="1062"/>
                      </a:lnTo>
                      <a:lnTo>
                        <a:pt x="1284" y="1082"/>
                      </a:lnTo>
                      <a:lnTo>
                        <a:pt x="1301" y="1107"/>
                      </a:lnTo>
                      <a:lnTo>
                        <a:pt x="1323" y="1115"/>
                      </a:lnTo>
                      <a:lnTo>
                        <a:pt x="1326" y="1119"/>
                      </a:lnTo>
                      <a:lnTo>
                        <a:pt x="1326" y="1115"/>
                      </a:lnTo>
                      <a:lnTo>
                        <a:pt x="1332" y="1097"/>
                      </a:lnTo>
                      <a:lnTo>
                        <a:pt x="1342" y="1078"/>
                      </a:lnTo>
                      <a:lnTo>
                        <a:pt x="1334" y="1062"/>
                      </a:lnTo>
                      <a:lnTo>
                        <a:pt x="1319" y="1043"/>
                      </a:lnTo>
                      <a:lnTo>
                        <a:pt x="1297" y="1024"/>
                      </a:lnTo>
                      <a:lnTo>
                        <a:pt x="1282" y="998"/>
                      </a:lnTo>
                      <a:lnTo>
                        <a:pt x="1270" y="983"/>
                      </a:lnTo>
                      <a:lnTo>
                        <a:pt x="1249" y="977"/>
                      </a:lnTo>
                      <a:lnTo>
                        <a:pt x="1193" y="958"/>
                      </a:lnTo>
                      <a:lnTo>
                        <a:pt x="1175" y="938"/>
                      </a:lnTo>
                      <a:lnTo>
                        <a:pt x="1148" y="925"/>
                      </a:lnTo>
                      <a:lnTo>
                        <a:pt x="1096" y="905"/>
                      </a:lnTo>
                      <a:lnTo>
                        <a:pt x="1069" y="894"/>
                      </a:lnTo>
                      <a:lnTo>
                        <a:pt x="1053" y="884"/>
                      </a:lnTo>
                      <a:lnTo>
                        <a:pt x="1039" y="878"/>
                      </a:lnTo>
                      <a:lnTo>
                        <a:pt x="1030" y="878"/>
                      </a:lnTo>
                      <a:lnTo>
                        <a:pt x="1024" y="870"/>
                      </a:lnTo>
                      <a:lnTo>
                        <a:pt x="1024" y="859"/>
                      </a:lnTo>
                      <a:lnTo>
                        <a:pt x="1036" y="845"/>
                      </a:lnTo>
                      <a:lnTo>
                        <a:pt x="1053" y="834"/>
                      </a:lnTo>
                      <a:lnTo>
                        <a:pt x="1053" y="816"/>
                      </a:lnTo>
                      <a:lnTo>
                        <a:pt x="1047" y="808"/>
                      </a:lnTo>
                      <a:lnTo>
                        <a:pt x="1039" y="799"/>
                      </a:lnTo>
                      <a:lnTo>
                        <a:pt x="1028" y="799"/>
                      </a:lnTo>
                      <a:lnTo>
                        <a:pt x="1016" y="799"/>
                      </a:lnTo>
                      <a:lnTo>
                        <a:pt x="1008" y="806"/>
                      </a:lnTo>
                      <a:lnTo>
                        <a:pt x="1024" y="799"/>
                      </a:lnTo>
                      <a:lnTo>
                        <a:pt x="1008" y="806"/>
                      </a:lnTo>
                      <a:lnTo>
                        <a:pt x="991" y="806"/>
                      </a:lnTo>
                      <a:lnTo>
                        <a:pt x="970" y="806"/>
                      </a:lnTo>
                      <a:lnTo>
                        <a:pt x="944" y="806"/>
                      </a:lnTo>
                      <a:lnTo>
                        <a:pt x="942" y="808"/>
                      </a:lnTo>
                      <a:lnTo>
                        <a:pt x="942" y="822"/>
                      </a:lnTo>
                      <a:lnTo>
                        <a:pt x="915" y="795"/>
                      </a:lnTo>
                      <a:lnTo>
                        <a:pt x="892" y="779"/>
                      </a:lnTo>
                      <a:lnTo>
                        <a:pt x="886" y="775"/>
                      </a:lnTo>
                      <a:lnTo>
                        <a:pt x="882" y="777"/>
                      </a:lnTo>
                      <a:lnTo>
                        <a:pt x="877" y="762"/>
                      </a:lnTo>
                      <a:lnTo>
                        <a:pt x="867" y="762"/>
                      </a:lnTo>
                      <a:lnTo>
                        <a:pt x="861" y="752"/>
                      </a:lnTo>
                      <a:lnTo>
                        <a:pt x="824" y="719"/>
                      </a:lnTo>
                      <a:lnTo>
                        <a:pt x="814" y="700"/>
                      </a:lnTo>
                      <a:lnTo>
                        <a:pt x="797" y="671"/>
                      </a:lnTo>
                      <a:lnTo>
                        <a:pt x="791" y="653"/>
                      </a:lnTo>
                      <a:lnTo>
                        <a:pt x="787" y="634"/>
                      </a:lnTo>
                      <a:lnTo>
                        <a:pt x="780" y="624"/>
                      </a:lnTo>
                      <a:lnTo>
                        <a:pt x="774" y="595"/>
                      </a:lnTo>
                      <a:lnTo>
                        <a:pt x="766" y="574"/>
                      </a:lnTo>
                      <a:lnTo>
                        <a:pt x="758" y="562"/>
                      </a:lnTo>
                      <a:lnTo>
                        <a:pt x="750" y="543"/>
                      </a:lnTo>
                      <a:lnTo>
                        <a:pt x="743" y="537"/>
                      </a:lnTo>
                      <a:lnTo>
                        <a:pt x="729" y="537"/>
                      </a:lnTo>
                      <a:lnTo>
                        <a:pt x="727" y="533"/>
                      </a:lnTo>
                      <a:lnTo>
                        <a:pt x="727" y="529"/>
                      </a:lnTo>
                      <a:lnTo>
                        <a:pt x="718" y="523"/>
                      </a:lnTo>
                      <a:lnTo>
                        <a:pt x="698" y="508"/>
                      </a:lnTo>
                      <a:lnTo>
                        <a:pt x="685" y="492"/>
                      </a:lnTo>
                      <a:lnTo>
                        <a:pt x="667" y="486"/>
                      </a:lnTo>
                      <a:lnTo>
                        <a:pt x="652" y="479"/>
                      </a:lnTo>
                      <a:lnTo>
                        <a:pt x="642" y="473"/>
                      </a:lnTo>
                      <a:lnTo>
                        <a:pt x="628" y="455"/>
                      </a:lnTo>
                      <a:lnTo>
                        <a:pt x="619" y="438"/>
                      </a:lnTo>
                      <a:lnTo>
                        <a:pt x="613" y="419"/>
                      </a:lnTo>
                      <a:lnTo>
                        <a:pt x="617" y="382"/>
                      </a:lnTo>
                      <a:lnTo>
                        <a:pt x="617" y="360"/>
                      </a:lnTo>
                      <a:lnTo>
                        <a:pt x="621" y="349"/>
                      </a:lnTo>
                      <a:lnTo>
                        <a:pt x="634" y="337"/>
                      </a:lnTo>
                      <a:lnTo>
                        <a:pt x="636" y="326"/>
                      </a:lnTo>
                      <a:lnTo>
                        <a:pt x="628" y="312"/>
                      </a:lnTo>
                      <a:lnTo>
                        <a:pt x="617" y="306"/>
                      </a:lnTo>
                      <a:lnTo>
                        <a:pt x="613" y="275"/>
                      </a:lnTo>
                      <a:lnTo>
                        <a:pt x="617" y="262"/>
                      </a:lnTo>
                      <a:lnTo>
                        <a:pt x="626" y="256"/>
                      </a:lnTo>
                      <a:lnTo>
                        <a:pt x="638" y="246"/>
                      </a:lnTo>
                      <a:lnTo>
                        <a:pt x="646" y="246"/>
                      </a:lnTo>
                      <a:lnTo>
                        <a:pt x="648" y="250"/>
                      </a:lnTo>
                      <a:lnTo>
                        <a:pt x="659" y="248"/>
                      </a:lnTo>
                      <a:lnTo>
                        <a:pt x="679" y="238"/>
                      </a:lnTo>
                      <a:lnTo>
                        <a:pt x="710" y="225"/>
                      </a:lnTo>
                      <a:lnTo>
                        <a:pt x="725" y="215"/>
                      </a:lnTo>
                      <a:lnTo>
                        <a:pt x="743" y="221"/>
                      </a:lnTo>
                      <a:lnTo>
                        <a:pt x="760" y="211"/>
                      </a:lnTo>
                      <a:lnTo>
                        <a:pt x="776" y="213"/>
                      </a:lnTo>
                      <a:lnTo>
                        <a:pt x="776" y="225"/>
                      </a:lnTo>
                      <a:lnTo>
                        <a:pt x="772" y="234"/>
                      </a:lnTo>
                      <a:lnTo>
                        <a:pt x="768" y="240"/>
                      </a:lnTo>
                      <a:lnTo>
                        <a:pt x="768" y="244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2" name="Freeform 22"/>
                <p:cNvSpPr>
                  <a:spLocks/>
                </p:cNvSpPr>
                <p:nvPr/>
              </p:nvSpPr>
              <p:spPr bwMode="gray">
                <a:xfrm>
                  <a:off x="3038270" y="2181139"/>
                  <a:ext cx="81088" cy="126968"/>
                </a:xfrm>
                <a:custGeom>
                  <a:avLst/>
                  <a:gdLst>
                    <a:gd name="T0" fmla="*/ 2 w 64"/>
                    <a:gd name="T1" fmla="*/ 539 h 99"/>
                    <a:gd name="T2" fmla="*/ 178 w 64"/>
                    <a:gd name="T3" fmla="*/ 611 h 99"/>
                    <a:gd name="T4" fmla="*/ 241 w 64"/>
                    <a:gd name="T5" fmla="*/ 624 h 99"/>
                    <a:gd name="T6" fmla="*/ 303 w 64"/>
                    <a:gd name="T7" fmla="*/ 611 h 99"/>
                    <a:gd name="T8" fmla="*/ 303 w 64"/>
                    <a:gd name="T9" fmla="*/ 624 h 99"/>
                    <a:gd name="T10" fmla="*/ 356 w 64"/>
                    <a:gd name="T11" fmla="*/ 539 h 99"/>
                    <a:gd name="T12" fmla="*/ 356 w 64"/>
                    <a:gd name="T13" fmla="*/ 413 h 99"/>
                    <a:gd name="T14" fmla="*/ 340 w 64"/>
                    <a:gd name="T15" fmla="*/ 338 h 99"/>
                    <a:gd name="T16" fmla="*/ 298 w 64"/>
                    <a:gd name="T17" fmla="*/ 234 h 99"/>
                    <a:gd name="T18" fmla="*/ 303 w 64"/>
                    <a:gd name="T19" fmla="*/ 151 h 99"/>
                    <a:gd name="T20" fmla="*/ 340 w 64"/>
                    <a:gd name="T21" fmla="*/ 72 h 99"/>
                    <a:gd name="T22" fmla="*/ 266 w 64"/>
                    <a:gd name="T23" fmla="*/ 0 h 99"/>
                    <a:gd name="T24" fmla="*/ 197 w 64"/>
                    <a:gd name="T25" fmla="*/ 0 h 99"/>
                    <a:gd name="T26" fmla="*/ 81 w 64"/>
                    <a:gd name="T27" fmla="*/ 72 h 99"/>
                    <a:gd name="T28" fmla="*/ 0 w 64"/>
                    <a:gd name="T29" fmla="*/ 209 h 99"/>
                    <a:gd name="T30" fmla="*/ 34 w 64"/>
                    <a:gd name="T31" fmla="*/ 362 h 99"/>
                    <a:gd name="T32" fmla="*/ 24 w 64"/>
                    <a:gd name="T33" fmla="*/ 539 h 99"/>
                    <a:gd name="T34" fmla="*/ 2 w 64"/>
                    <a:gd name="T35" fmla="*/ 539 h 9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64" h="99">
                      <a:moveTo>
                        <a:pt x="2" y="86"/>
                      </a:moveTo>
                      <a:lnTo>
                        <a:pt x="32" y="97"/>
                      </a:lnTo>
                      <a:lnTo>
                        <a:pt x="43" y="99"/>
                      </a:lnTo>
                      <a:lnTo>
                        <a:pt x="55" y="97"/>
                      </a:lnTo>
                      <a:lnTo>
                        <a:pt x="55" y="99"/>
                      </a:lnTo>
                      <a:lnTo>
                        <a:pt x="64" y="86"/>
                      </a:lnTo>
                      <a:lnTo>
                        <a:pt x="64" y="66"/>
                      </a:lnTo>
                      <a:lnTo>
                        <a:pt x="61" y="53"/>
                      </a:lnTo>
                      <a:lnTo>
                        <a:pt x="53" y="37"/>
                      </a:lnTo>
                      <a:lnTo>
                        <a:pt x="55" y="24"/>
                      </a:lnTo>
                      <a:lnTo>
                        <a:pt x="61" y="12"/>
                      </a:lnTo>
                      <a:lnTo>
                        <a:pt x="47" y="0"/>
                      </a:lnTo>
                      <a:lnTo>
                        <a:pt x="35" y="0"/>
                      </a:lnTo>
                      <a:lnTo>
                        <a:pt x="14" y="12"/>
                      </a:lnTo>
                      <a:lnTo>
                        <a:pt x="0" y="33"/>
                      </a:lnTo>
                      <a:lnTo>
                        <a:pt x="6" y="57"/>
                      </a:lnTo>
                      <a:lnTo>
                        <a:pt x="4" y="86"/>
                      </a:lnTo>
                      <a:lnTo>
                        <a:pt x="2" y="86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3" name="Freeform 23"/>
                <p:cNvSpPr>
                  <a:spLocks/>
                </p:cNvSpPr>
                <p:nvPr/>
              </p:nvSpPr>
              <p:spPr bwMode="gray">
                <a:xfrm>
                  <a:off x="3016932" y="1563372"/>
                  <a:ext cx="45879" cy="57616"/>
                </a:xfrm>
                <a:custGeom>
                  <a:avLst/>
                  <a:gdLst>
                    <a:gd name="T0" fmla="*/ 146 w 37"/>
                    <a:gd name="T1" fmla="*/ 72 h 45"/>
                    <a:gd name="T2" fmla="*/ 166 w 37"/>
                    <a:gd name="T3" fmla="*/ 24 h 45"/>
                    <a:gd name="T4" fmla="*/ 146 w 37"/>
                    <a:gd name="T5" fmla="*/ 0 h 45"/>
                    <a:gd name="T6" fmla="*/ 114 w 37"/>
                    <a:gd name="T7" fmla="*/ 86 h 45"/>
                    <a:gd name="T8" fmla="*/ 35 w 37"/>
                    <a:gd name="T9" fmla="*/ 185 h 45"/>
                    <a:gd name="T10" fmla="*/ 0 w 37"/>
                    <a:gd name="T11" fmla="*/ 282 h 45"/>
                    <a:gd name="T12" fmla="*/ 66 w 37"/>
                    <a:gd name="T13" fmla="*/ 228 h 45"/>
                    <a:gd name="T14" fmla="*/ 103 w 37"/>
                    <a:gd name="T15" fmla="*/ 124 h 45"/>
                    <a:gd name="T16" fmla="*/ 146 w 37"/>
                    <a:gd name="T17" fmla="*/ 86 h 45"/>
                    <a:gd name="T18" fmla="*/ 146 w 37"/>
                    <a:gd name="T19" fmla="*/ 72 h 4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37" h="45">
                      <a:moveTo>
                        <a:pt x="33" y="12"/>
                      </a:moveTo>
                      <a:lnTo>
                        <a:pt x="37" y="4"/>
                      </a:lnTo>
                      <a:lnTo>
                        <a:pt x="33" y="0"/>
                      </a:lnTo>
                      <a:lnTo>
                        <a:pt x="25" y="14"/>
                      </a:lnTo>
                      <a:lnTo>
                        <a:pt x="8" y="30"/>
                      </a:lnTo>
                      <a:lnTo>
                        <a:pt x="0" y="45"/>
                      </a:lnTo>
                      <a:lnTo>
                        <a:pt x="15" y="37"/>
                      </a:lnTo>
                      <a:lnTo>
                        <a:pt x="23" y="20"/>
                      </a:lnTo>
                      <a:lnTo>
                        <a:pt x="33" y="14"/>
                      </a:lnTo>
                      <a:lnTo>
                        <a:pt x="33" y="12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4" name="Freeform 24"/>
                <p:cNvSpPr>
                  <a:spLocks/>
                </p:cNvSpPr>
                <p:nvPr/>
              </p:nvSpPr>
              <p:spPr bwMode="gray">
                <a:xfrm>
                  <a:off x="2817413" y="1550568"/>
                  <a:ext cx="477990" cy="518541"/>
                </a:xfrm>
                <a:custGeom>
                  <a:avLst/>
                  <a:gdLst>
                    <a:gd name="T0" fmla="*/ 1121 w 374"/>
                    <a:gd name="T1" fmla="*/ 463 h 407"/>
                    <a:gd name="T2" fmla="*/ 1169 w 374"/>
                    <a:gd name="T3" fmla="*/ 527 h 407"/>
                    <a:gd name="T4" fmla="*/ 1169 w 374"/>
                    <a:gd name="T5" fmla="*/ 555 h 407"/>
                    <a:gd name="T6" fmla="*/ 1072 w 374"/>
                    <a:gd name="T7" fmla="*/ 596 h 407"/>
                    <a:gd name="T8" fmla="*/ 1025 w 374"/>
                    <a:gd name="T9" fmla="*/ 730 h 407"/>
                    <a:gd name="T10" fmla="*/ 1017 w 374"/>
                    <a:gd name="T11" fmla="*/ 817 h 407"/>
                    <a:gd name="T12" fmla="*/ 1058 w 374"/>
                    <a:gd name="T13" fmla="*/ 879 h 407"/>
                    <a:gd name="T14" fmla="*/ 1169 w 374"/>
                    <a:gd name="T15" fmla="*/ 962 h 407"/>
                    <a:gd name="T16" fmla="*/ 1249 w 374"/>
                    <a:gd name="T17" fmla="*/ 962 h 407"/>
                    <a:gd name="T18" fmla="*/ 1235 w 374"/>
                    <a:gd name="T19" fmla="*/ 817 h 407"/>
                    <a:gd name="T20" fmla="*/ 1205 w 374"/>
                    <a:gd name="T21" fmla="*/ 743 h 407"/>
                    <a:gd name="T22" fmla="*/ 1228 w 374"/>
                    <a:gd name="T23" fmla="*/ 743 h 407"/>
                    <a:gd name="T24" fmla="*/ 1320 w 374"/>
                    <a:gd name="T25" fmla="*/ 699 h 407"/>
                    <a:gd name="T26" fmla="*/ 1356 w 374"/>
                    <a:gd name="T27" fmla="*/ 596 h 407"/>
                    <a:gd name="T28" fmla="*/ 1416 w 374"/>
                    <a:gd name="T29" fmla="*/ 463 h 407"/>
                    <a:gd name="T30" fmla="*/ 1310 w 374"/>
                    <a:gd name="T31" fmla="*/ 432 h 407"/>
                    <a:gd name="T32" fmla="*/ 1289 w 374"/>
                    <a:gd name="T33" fmla="*/ 362 h 407"/>
                    <a:gd name="T34" fmla="*/ 1310 w 374"/>
                    <a:gd name="T35" fmla="*/ 234 h 407"/>
                    <a:gd name="T36" fmla="*/ 1356 w 374"/>
                    <a:gd name="T37" fmla="*/ 176 h 407"/>
                    <a:gd name="T38" fmla="*/ 1417 w 374"/>
                    <a:gd name="T39" fmla="*/ 87 h 407"/>
                    <a:gd name="T40" fmla="*/ 1520 w 374"/>
                    <a:gd name="T41" fmla="*/ 50 h 407"/>
                    <a:gd name="T42" fmla="*/ 1714 w 374"/>
                    <a:gd name="T43" fmla="*/ 0 h 407"/>
                    <a:gd name="T44" fmla="*/ 1841 w 374"/>
                    <a:gd name="T45" fmla="*/ 50 h 407"/>
                    <a:gd name="T46" fmla="*/ 1956 w 374"/>
                    <a:gd name="T47" fmla="*/ 0 h 407"/>
                    <a:gd name="T48" fmla="*/ 2161 w 374"/>
                    <a:gd name="T49" fmla="*/ 50 h 407"/>
                    <a:gd name="T50" fmla="*/ 2272 w 374"/>
                    <a:gd name="T51" fmla="*/ 196 h 407"/>
                    <a:gd name="T52" fmla="*/ 2224 w 374"/>
                    <a:gd name="T53" fmla="*/ 333 h 407"/>
                    <a:gd name="T54" fmla="*/ 2123 w 374"/>
                    <a:gd name="T55" fmla="*/ 639 h 407"/>
                    <a:gd name="T56" fmla="*/ 1956 w 374"/>
                    <a:gd name="T57" fmla="*/ 817 h 407"/>
                    <a:gd name="T58" fmla="*/ 2028 w 374"/>
                    <a:gd name="T59" fmla="*/ 1130 h 407"/>
                    <a:gd name="T60" fmla="*/ 1818 w 374"/>
                    <a:gd name="T61" fmla="*/ 1403 h 407"/>
                    <a:gd name="T62" fmla="*/ 1496 w 374"/>
                    <a:gd name="T63" fmla="*/ 1340 h 407"/>
                    <a:gd name="T64" fmla="*/ 1496 w 374"/>
                    <a:gd name="T65" fmla="*/ 1698 h 407"/>
                    <a:gd name="T66" fmla="*/ 1372 w 374"/>
                    <a:gd name="T67" fmla="*/ 2065 h 407"/>
                    <a:gd name="T68" fmla="*/ 1384 w 374"/>
                    <a:gd name="T69" fmla="*/ 2330 h 407"/>
                    <a:gd name="T70" fmla="*/ 1169 w 374"/>
                    <a:gd name="T71" fmla="*/ 2314 h 407"/>
                    <a:gd name="T72" fmla="*/ 1205 w 374"/>
                    <a:gd name="T73" fmla="*/ 1983 h 407"/>
                    <a:gd name="T74" fmla="*/ 945 w 374"/>
                    <a:gd name="T75" fmla="*/ 1825 h 407"/>
                    <a:gd name="T76" fmla="*/ 849 w 374"/>
                    <a:gd name="T77" fmla="*/ 1698 h 407"/>
                    <a:gd name="T78" fmla="*/ 556 w 374"/>
                    <a:gd name="T79" fmla="*/ 1698 h 407"/>
                    <a:gd name="T80" fmla="*/ 164 w 374"/>
                    <a:gd name="T81" fmla="*/ 1780 h 407"/>
                    <a:gd name="T82" fmla="*/ 0 w 374"/>
                    <a:gd name="T83" fmla="*/ 1659 h 407"/>
                    <a:gd name="T84" fmla="*/ 176 w 374"/>
                    <a:gd name="T85" fmla="*/ 1711 h 407"/>
                    <a:gd name="T86" fmla="*/ 435 w 374"/>
                    <a:gd name="T87" fmla="*/ 1698 h 407"/>
                    <a:gd name="T88" fmla="*/ 363 w 374"/>
                    <a:gd name="T89" fmla="*/ 1659 h 407"/>
                    <a:gd name="T90" fmla="*/ 253 w 374"/>
                    <a:gd name="T91" fmla="*/ 1552 h 407"/>
                    <a:gd name="T92" fmla="*/ 607 w 374"/>
                    <a:gd name="T93" fmla="*/ 1497 h 407"/>
                    <a:gd name="T94" fmla="*/ 825 w 374"/>
                    <a:gd name="T95" fmla="*/ 1391 h 407"/>
                    <a:gd name="T96" fmla="*/ 607 w 374"/>
                    <a:gd name="T97" fmla="*/ 1403 h 407"/>
                    <a:gd name="T98" fmla="*/ 484 w 374"/>
                    <a:gd name="T99" fmla="*/ 1212 h 407"/>
                    <a:gd name="T100" fmla="*/ 520 w 374"/>
                    <a:gd name="T101" fmla="*/ 1165 h 407"/>
                    <a:gd name="T102" fmla="*/ 580 w 374"/>
                    <a:gd name="T103" fmla="*/ 1090 h 407"/>
                    <a:gd name="T104" fmla="*/ 825 w 374"/>
                    <a:gd name="T105" fmla="*/ 764 h 407"/>
                    <a:gd name="T106" fmla="*/ 1095 w 374"/>
                    <a:gd name="T107" fmla="*/ 362 h 40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74" h="407">
                      <a:moveTo>
                        <a:pt x="180" y="62"/>
                      </a:moveTo>
                      <a:lnTo>
                        <a:pt x="182" y="74"/>
                      </a:lnTo>
                      <a:lnTo>
                        <a:pt x="184" y="79"/>
                      </a:lnTo>
                      <a:lnTo>
                        <a:pt x="186" y="81"/>
                      </a:lnTo>
                      <a:lnTo>
                        <a:pt x="192" y="87"/>
                      </a:lnTo>
                      <a:lnTo>
                        <a:pt x="192" y="89"/>
                      </a:lnTo>
                      <a:lnTo>
                        <a:pt x="194" y="89"/>
                      </a:lnTo>
                      <a:lnTo>
                        <a:pt x="192" y="95"/>
                      </a:lnTo>
                      <a:lnTo>
                        <a:pt x="192" y="97"/>
                      </a:lnTo>
                      <a:lnTo>
                        <a:pt x="182" y="99"/>
                      </a:lnTo>
                      <a:lnTo>
                        <a:pt x="176" y="101"/>
                      </a:lnTo>
                      <a:lnTo>
                        <a:pt x="174" y="105"/>
                      </a:lnTo>
                      <a:lnTo>
                        <a:pt x="170" y="114"/>
                      </a:lnTo>
                      <a:lnTo>
                        <a:pt x="169" y="124"/>
                      </a:lnTo>
                      <a:lnTo>
                        <a:pt x="169" y="136"/>
                      </a:lnTo>
                      <a:lnTo>
                        <a:pt x="169" y="138"/>
                      </a:lnTo>
                      <a:lnTo>
                        <a:pt x="167" y="139"/>
                      </a:lnTo>
                      <a:lnTo>
                        <a:pt x="169" y="141"/>
                      </a:lnTo>
                      <a:lnTo>
                        <a:pt x="169" y="143"/>
                      </a:lnTo>
                      <a:lnTo>
                        <a:pt x="174" y="149"/>
                      </a:lnTo>
                      <a:lnTo>
                        <a:pt x="176" y="153"/>
                      </a:lnTo>
                      <a:lnTo>
                        <a:pt x="182" y="155"/>
                      </a:lnTo>
                      <a:lnTo>
                        <a:pt x="192" y="163"/>
                      </a:lnTo>
                      <a:lnTo>
                        <a:pt x="198" y="163"/>
                      </a:lnTo>
                      <a:lnTo>
                        <a:pt x="202" y="165"/>
                      </a:lnTo>
                      <a:lnTo>
                        <a:pt x="205" y="163"/>
                      </a:lnTo>
                      <a:lnTo>
                        <a:pt x="205" y="159"/>
                      </a:lnTo>
                      <a:lnTo>
                        <a:pt x="205" y="145"/>
                      </a:lnTo>
                      <a:lnTo>
                        <a:pt x="203" y="139"/>
                      </a:lnTo>
                      <a:lnTo>
                        <a:pt x="198" y="134"/>
                      </a:lnTo>
                      <a:lnTo>
                        <a:pt x="198" y="130"/>
                      </a:lnTo>
                      <a:lnTo>
                        <a:pt x="198" y="126"/>
                      </a:lnTo>
                      <a:lnTo>
                        <a:pt x="200" y="126"/>
                      </a:lnTo>
                      <a:lnTo>
                        <a:pt x="202" y="124"/>
                      </a:lnTo>
                      <a:lnTo>
                        <a:pt x="202" y="126"/>
                      </a:lnTo>
                      <a:lnTo>
                        <a:pt x="205" y="126"/>
                      </a:lnTo>
                      <a:lnTo>
                        <a:pt x="207" y="124"/>
                      </a:lnTo>
                      <a:lnTo>
                        <a:pt x="217" y="118"/>
                      </a:lnTo>
                      <a:lnTo>
                        <a:pt x="217" y="112"/>
                      </a:lnTo>
                      <a:lnTo>
                        <a:pt x="219" y="106"/>
                      </a:lnTo>
                      <a:lnTo>
                        <a:pt x="223" y="101"/>
                      </a:lnTo>
                      <a:lnTo>
                        <a:pt x="225" y="93"/>
                      </a:lnTo>
                      <a:lnTo>
                        <a:pt x="231" y="81"/>
                      </a:lnTo>
                      <a:lnTo>
                        <a:pt x="233" y="79"/>
                      </a:lnTo>
                      <a:lnTo>
                        <a:pt x="233" y="75"/>
                      </a:lnTo>
                      <a:lnTo>
                        <a:pt x="227" y="74"/>
                      </a:lnTo>
                      <a:lnTo>
                        <a:pt x="215" y="74"/>
                      </a:lnTo>
                      <a:lnTo>
                        <a:pt x="213" y="70"/>
                      </a:lnTo>
                      <a:lnTo>
                        <a:pt x="213" y="62"/>
                      </a:lnTo>
                      <a:lnTo>
                        <a:pt x="215" y="56"/>
                      </a:lnTo>
                      <a:lnTo>
                        <a:pt x="213" y="46"/>
                      </a:lnTo>
                      <a:lnTo>
                        <a:pt x="215" y="39"/>
                      </a:lnTo>
                      <a:lnTo>
                        <a:pt x="217" y="37"/>
                      </a:lnTo>
                      <a:lnTo>
                        <a:pt x="219" y="31"/>
                      </a:lnTo>
                      <a:lnTo>
                        <a:pt x="223" y="29"/>
                      </a:lnTo>
                      <a:lnTo>
                        <a:pt x="227" y="19"/>
                      </a:lnTo>
                      <a:lnTo>
                        <a:pt x="233" y="15"/>
                      </a:lnTo>
                      <a:lnTo>
                        <a:pt x="234" y="15"/>
                      </a:lnTo>
                      <a:lnTo>
                        <a:pt x="238" y="11"/>
                      </a:lnTo>
                      <a:lnTo>
                        <a:pt x="244" y="10"/>
                      </a:lnTo>
                      <a:lnTo>
                        <a:pt x="250" y="8"/>
                      </a:lnTo>
                      <a:lnTo>
                        <a:pt x="264" y="2"/>
                      </a:lnTo>
                      <a:lnTo>
                        <a:pt x="273" y="0"/>
                      </a:lnTo>
                      <a:lnTo>
                        <a:pt x="281" y="0"/>
                      </a:lnTo>
                      <a:lnTo>
                        <a:pt x="291" y="4"/>
                      </a:lnTo>
                      <a:lnTo>
                        <a:pt x="297" y="8"/>
                      </a:lnTo>
                      <a:lnTo>
                        <a:pt x="302" y="8"/>
                      </a:lnTo>
                      <a:lnTo>
                        <a:pt x="306" y="8"/>
                      </a:lnTo>
                      <a:lnTo>
                        <a:pt x="316" y="2"/>
                      </a:lnTo>
                      <a:lnTo>
                        <a:pt x="322" y="0"/>
                      </a:lnTo>
                      <a:lnTo>
                        <a:pt x="341" y="2"/>
                      </a:lnTo>
                      <a:lnTo>
                        <a:pt x="353" y="6"/>
                      </a:lnTo>
                      <a:lnTo>
                        <a:pt x="355" y="8"/>
                      </a:lnTo>
                      <a:lnTo>
                        <a:pt x="368" y="21"/>
                      </a:lnTo>
                      <a:lnTo>
                        <a:pt x="372" y="31"/>
                      </a:lnTo>
                      <a:lnTo>
                        <a:pt x="374" y="33"/>
                      </a:lnTo>
                      <a:lnTo>
                        <a:pt x="372" y="41"/>
                      </a:lnTo>
                      <a:lnTo>
                        <a:pt x="366" y="56"/>
                      </a:lnTo>
                      <a:lnTo>
                        <a:pt x="361" y="74"/>
                      </a:lnTo>
                      <a:lnTo>
                        <a:pt x="355" y="91"/>
                      </a:lnTo>
                      <a:lnTo>
                        <a:pt x="349" y="108"/>
                      </a:lnTo>
                      <a:lnTo>
                        <a:pt x="330" y="120"/>
                      </a:lnTo>
                      <a:lnTo>
                        <a:pt x="322" y="124"/>
                      </a:lnTo>
                      <a:lnTo>
                        <a:pt x="322" y="139"/>
                      </a:lnTo>
                      <a:lnTo>
                        <a:pt x="353" y="159"/>
                      </a:lnTo>
                      <a:lnTo>
                        <a:pt x="347" y="178"/>
                      </a:lnTo>
                      <a:lnTo>
                        <a:pt x="333" y="192"/>
                      </a:lnTo>
                      <a:lnTo>
                        <a:pt x="314" y="203"/>
                      </a:lnTo>
                      <a:lnTo>
                        <a:pt x="310" y="223"/>
                      </a:lnTo>
                      <a:lnTo>
                        <a:pt x="298" y="238"/>
                      </a:lnTo>
                      <a:lnTo>
                        <a:pt x="285" y="240"/>
                      </a:lnTo>
                      <a:lnTo>
                        <a:pt x="264" y="229"/>
                      </a:lnTo>
                      <a:lnTo>
                        <a:pt x="246" y="227"/>
                      </a:lnTo>
                      <a:lnTo>
                        <a:pt x="244" y="240"/>
                      </a:lnTo>
                      <a:lnTo>
                        <a:pt x="246" y="267"/>
                      </a:lnTo>
                      <a:lnTo>
                        <a:pt x="246" y="287"/>
                      </a:lnTo>
                      <a:lnTo>
                        <a:pt x="242" y="306"/>
                      </a:lnTo>
                      <a:lnTo>
                        <a:pt x="238" y="339"/>
                      </a:lnTo>
                      <a:lnTo>
                        <a:pt x="225" y="351"/>
                      </a:lnTo>
                      <a:lnTo>
                        <a:pt x="223" y="364"/>
                      </a:lnTo>
                      <a:lnTo>
                        <a:pt x="225" y="382"/>
                      </a:lnTo>
                      <a:lnTo>
                        <a:pt x="227" y="395"/>
                      </a:lnTo>
                      <a:lnTo>
                        <a:pt x="225" y="407"/>
                      </a:lnTo>
                      <a:lnTo>
                        <a:pt x="205" y="403"/>
                      </a:lnTo>
                      <a:lnTo>
                        <a:pt x="192" y="392"/>
                      </a:lnTo>
                      <a:lnTo>
                        <a:pt x="192" y="372"/>
                      </a:lnTo>
                      <a:lnTo>
                        <a:pt x="196" y="355"/>
                      </a:lnTo>
                      <a:lnTo>
                        <a:pt x="198" y="337"/>
                      </a:lnTo>
                      <a:lnTo>
                        <a:pt x="184" y="324"/>
                      </a:lnTo>
                      <a:lnTo>
                        <a:pt x="169" y="320"/>
                      </a:lnTo>
                      <a:lnTo>
                        <a:pt x="155" y="310"/>
                      </a:lnTo>
                      <a:lnTo>
                        <a:pt x="155" y="298"/>
                      </a:lnTo>
                      <a:lnTo>
                        <a:pt x="147" y="297"/>
                      </a:lnTo>
                      <a:lnTo>
                        <a:pt x="139" y="287"/>
                      </a:lnTo>
                      <a:lnTo>
                        <a:pt x="132" y="283"/>
                      </a:lnTo>
                      <a:lnTo>
                        <a:pt x="112" y="283"/>
                      </a:lnTo>
                      <a:lnTo>
                        <a:pt x="91" y="287"/>
                      </a:lnTo>
                      <a:lnTo>
                        <a:pt x="64" y="298"/>
                      </a:lnTo>
                      <a:lnTo>
                        <a:pt x="37" y="302"/>
                      </a:lnTo>
                      <a:lnTo>
                        <a:pt x="27" y="302"/>
                      </a:lnTo>
                      <a:lnTo>
                        <a:pt x="8" y="287"/>
                      </a:lnTo>
                      <a:lnTo>
                        <a:pt x="0" y="283"/>
                      </a:lnTo>
                      <a:lnTo>
                        <a:pt x="0" y="281"/>
                      </a:lnTo>
                      <a:lnTo>
                        <a:pt x="6" y="277"/>
                      </a:lnTo>
                      <a:lnTo>
                        <a:pt x="17" y="279"/>
                      </a:lnTo>
                      <a:lnTo>
                        <a:pt x="29" y="291"/>
                      </a:lnTo>
                      <a:lnTo>
                        <a:pt x="35" y="295"/>
                      </a:lnTo>
                      <a:lnTo>
                        <a:pt x="50" y="287"/>
                      </a:lnTo>
                      <a:lnTo>
                        <a:pt x="72" y="287"/>
                      </a:lnTo>
                      <a:lnTo>
                        <a:pt x="77" y="291"/>
                      </a:lnTo>
                      <a:lnTo>
                        <a:pt x="72" y="285"/>
                      </a:lnTo>
                      <a:lnTo>
                        <a:pt x="60" y="281"/>
                      </a:lnTo>
                      <a:lnTo>
                        <a:pt x="44" y="279"/>
                      </a:lnTo>
                      <a:lnTo>
                        <a:pt x="35" y="275"/>
                      </a:lnTo>
                      <a:lnTo>
                        <a:pt x="42" y="264"/>
                      </a:lnTo>
                      <a:lnTo>
                        <a:pt x="54" y="262"/>
                      </a:lnTo>
                      <a:lnTo>
                        <a:pt x="81" y="260"/>
                      </a:lnTo>
                      <a:lnTo>
                        <a:pt x="99" y="254"/>
                      </a:lnTo>
                      <a:lnTo>
                        <a:pt x="132" y="250"/>
                      </a:lnTo>
                      <a:lnTo>
                        <a:pt x="143" y="246"/>
                      </a:lnTo>
                      <a:lnTo>
                        <a:pt x="136" y="236"/>
                      </a:lnTo>
                      <a:lnTo>
                        <a:pt x="122" y="242"/>
                      </a:lnTo>
                      <a:lnTo>
                        <a:pt x="114" y="242"/>
                      </a:lnTo>
                      <a:lnTo>
                        <a:pt x="99" y="238"/>
                      </a:lnTo>
                      <a:lnTo>
                        <a:pt x="85" y="233"/>
                      </a:lnTo>
                      <a:lnTo>
                        <a:pt x="75" y="221"/>
                      </a:lnTo>
                      <a:lnTo>
                        <a:pt x="79" y="205"/>
                      </a:lnTo>
                      <a:lnTo>
                        <a:pt x="81" y="200"/>
                      </a:lnTo>
                      <a:lnTo>
                        <a:pt x="83" y="198"/>
                      </a:lnTo>
                      <a:lnTo>
                        <a:pt x="85" y="198"/>
                      </a:lnTo>
                      <a:lnTo>
                        <a:pt x="87" y="192"/>
                      </a:lnTo>
                      <a:lnTo>
                        <a:pt x="89" y="192"/>
                      </a:lnTo>
                      <a:lnTo>
                        <a:pt x="95" y="186"/>
                      </a:lnTo>
                      <a:lnTo>
                        <a:pt x="103" y="180"/>
                      </a:lnTo>
                      <a:lnTo>
                        <a:pt x="126" y="157"/>
                      </a:lnTo>
                      <a:lnTo>
                        <a:pt x="136" y="130"/>
                      </a:lnTo>
                      <a:lnTo>
                        <a:pt x="149" y="95"/>
                      </a:lnTo>
                      <a:lnTo>
                        <a:pt x="163" y="68"/>
                      </a:lnTo>
                      <a:lnTo>
                        <a:pt x="180" y="62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5" name="Freeform 25"/>
                <p:cNvSpPr>
                  <a:spLocks/>
                </p:cNvSpPr>
                <p:nvPr/>
              </p:nvSpPr>
              <p:spPr bwMode="gray">
                <a:xfrm>
                  <a:off x="2835551" y="1873856"/>
                  <a:ext cx="14937" cy="22406"/>
                </a:xfrm>
                <a:custGeom>
                  <a:avLst/>
                  <a:gdLst>
                    <a:gd name="T0" fmla="*/ 21 w 12"/>
                    <a:gd name="T1" fmla="*/ 0 h 17"/>
                    <a:gd name="T2" fmla="*/ 0 w 12"/>
                    <a:gd name="T3" fmla="*/ 99 h 17"/>
                    <a:gd name="T4" fmla="*/ 0 w 12"/>
                    <a:gd name="T5" fmla="*/ 122 h 17"/>
                    <a:gd name="T6" fmla="*/ 21 w 12"/>
                    <a:gd name="T7" fmla="*/ 142 h 17"/>
                    <a:gd name="T8" fmla="*/ 56 w 12"/>
                    <a:gd name="T9" fmla="*/ 99 h 17"/>
                    <a:gd name="T10" fmla="*/ 56 w 12"/>
                    <a:gd name="T11" fmla="*/ 49 h 17"/>
                    <a:gd name="T12" fmla="*/ 21 w 12"/>
                    <a:gd name="T13" fmla="*/ 0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17">
                      <a:moveTo>
                        <a:pt x="4" y="0"/>
                      </a:move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4" y="17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6" name="Freeform 26"/>
                <p:cNvSpPr>
                  <a:spLocks/>
                </p:cNvSpPr>
                <p:nvPr/>
              </p:nvSpPr>
              <p:spPr bwMode="gray">
                <a:xfrm>
                  <a:off x="2891032" y="1829044"/>
                  <a:ext cx="36276" cy="29875"/>
                </a:xfrm>
                <a:custGeom>
                  <a:avLst/>
                  <a:gdLst>
                    <a:gd name="T0" fmla="*/ 21 w 29"/>
                    <a:gd name="T1" fmla="*/ 28 h 23"/>
                    <a:gd name="T2" fmla="*/ 0 w 29"/>
                    <a:gd name="T3" fmla="*/ 0 h 23"/>
                    <a:gd name="T4" fmla="*/ 66 w 29"/>
                    <a:gd name="T5" fmla="*/ 0 h 23"/>
                    <a:gd name="T6" fmla="*/ 90 w 29"/>
                    <a:gd name="T7" fmla="*/ 73 h 23"/>
                    <a:gd name="T8" fmla="*/ 142 w 29"/>
                    <a:gd name="T9" fmla="*/ 108 h 23"/>
                    <a:gd name="T10" fmla="*/ 142 w 29"/>
                    <a:gd name="T11" fmla="*/ 163 h 23"/>
                    <a:gd name="T12" fmla="*/ 121 w 29"/>
                    <a:gd name="T13" fmla="*/ 163 h 23"/>
                    <a:gd name="T14" fmla="*/ 21 w 29"/>
                    <a:gd name="T15" fmla="*/ 28 h 2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9" h="23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14" y="0"/>
                      </a:lnTo>
                      <a:lnTo>
                        <a:pt x="19" y="10"/>
                      </a:lnTo>
                      <a:lnTo>
                        <a:pt x="29" y="15"/>
                      </a:lnTo>
                      <a:lnTo>
                        <a:pt x="29" y="23"/>
                      </a:lnTo>
                      <a:lnTo>
                        <a:pt x="25" y="23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7" name="Freeform 27"/>
                <p:cNvSpPr>
                  <a:spLocks/>
                </p:cNvSpPr>
                <p:nvPr/>
              </p:nvSpPr>
              <p:spPr bwMode="gray">
                <a:xfrm>
                  <a:off x="2866493" y="1839713"/>
                  <a:ext cx="30941" cy="23473"/>
                </a:xfrm>
                <a:custGeom>
                  <a:avLst/>
                  <a:gdLst>
                    <a:gd name="T0" fmla="*/ 0 w 25"/>
                    <a:gd name="T1" fmla="*/ 47 h 17"/>
                    <a:gd name="T2" fmla="*/ 19 w 25"/>
                    <a:gd name="T3" fmla="*/ 0 h 17"/>
                    <a:gd name="T4" fmla="*/ 41 w 25"/>
                    <a:gd name="T5" fmla="*/ 0 h 17"/>
                    <a:gd name="T6" fmla="*/ 109 w 25"/>
                    <a:gd name="T7" fmla="*/ 126 h 17"/>
                    <a:gd name="T8" fmla="*/ 109 w 25"/>
                    <a:gd name="T9" fmla="*/ 221 h 17"/>
                    <a:gd name="T10" fmla="*/ 87 w 25"/>
                    <a:gd name="T11" fmla="*/ 171 h 17"/>
                    <a:gd name="T12" fmla="*/ 41 w 25"/>
                    <a:gd name="T13" fmla="*/ 61 h 17"/>
                    <a:gd name="T14" fmla="*/ 0 w 25"/>
                    <a:gd name="T15" fmla="*/ 47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5" h="17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9" y="0"/>
                      </a:lnTo>
                      <a:lnTo>
                        <a:pt x="25" y="9"/>
                      </a:lnTo>
                      <a:lnTo>
                        <a:pt x="25" y="17"/>
                      </a:lnTo>
                      <a:lnTo>
                        <a:pt x="19" y="13"/>
                      </a:lnTo>
                      <a:lnTo>
                        <a:pt x="9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gray">
                <a:xfrm>
                  <a:off x="2983856" y="2708215"/>
                  <a:ext cx="619894" cy="352095"/>
                </a:xfrm>
                <a:custGeom>
                  <a:avLst/>
                  <a:gdLst>
                    <a:gd name="T0" fmla="*/ 1207 w 483"/>
                    <a:gd name="T1" fmla="*/ 0 h 278"/>
                    <a:gd name="T2" fmla="*/ 1386 w 483"/>
                    <a:gd name="T3" fmla="*/ 55 h 278"/>
                    <a:gd name="T4" fmla="*/ 1709 w 483"/>
                    <a:gd name="T5" fmla="*/ 55 h 278"/>
                    <a:gd name="T6" fmla="*/ 2153 w 483"/>
                    <a:gd name="T7" fmla="*/ 55 h 278"/>
                    <a:gd name="T8" fmla="*/ 2401 w 483"/>
                    <a:gd name="T9" fmla="*/ 173 h 278"/>
                    <a:gd name="T10" fmla="*/ 2555 w 483"/>
                    <a:gd name="T11" fmla="*/ 297 h 278"/>
                    <a:gd name="T12" fmla="*/ 2473 w 483"/>
                    <a:gd name="T13" fmla="*/ 500 h 278"/>
                    <a:gd name="T14" fmla="*/ 2631 w 483"/>
                    <a:gd name="T15" fmla="*/ 679 h 278"/>
                    <a:gd name="T16" fmla="*/ 2880 w 483"/>
                    <a:gd name="T17" fmla="*/ 767 h 278"/>
                    <a:gd name="T18" fmla="*/ 3022 w 483"/>
                    <a:gd name="T19" fmla="*/ 753 h 278"/>
                    <a:gd name="T20" fmla="*/ 3022 w 483"/>
                    <a:gd name="T21" fmla="*/ 843 h 278"/>
                    <a:gd name="T22" fmla="*/ 3022 w 483"/>
                    <a:gd name="T23" fmla="*/ 984 h 278"/>
                    <a:gd name="T24" fmla="*/ 2827 w 483"/>
                    <a:gd name="T25" fmla="*/ 1008 h 278"/>
                    <a:gd name="T26" fmla="*/ 2805 w 483"/>
                    <a:gd name="T27" fmla="*/ 1147 h 278"/>
                    <a:gd name="T28" fmla="*/ 2815 w 483"/>
                    <a:gd name="T29" fmla="*/ 1259 h 278"/>
                    <a:gd name="T30" fmla="*/ 2412 w 483"/>
                    <a:gd name="T31" fmla="*/ 1188 h 278"/>
                    <a:gd name="T32" fmla="*/ 2263 w 483"/>
                    <a:gd name="T33" fmla="*/ 1075 h 278"/>
                    <a:gd name="T34" fmla="*/ 2074 w 483"/>
                    <a:gd name="T35" fmla="*/ 1395 h 278"/>
                    <a:gd name="T36" fmla="*/ 1996 w 483"/>
                    <a:gd name="T37" fmla="*/ 1546 h 278"/>
                    <a:gd name="T38" fmla="*/ 1846 w 483"/>
                    <a:gd name="T39" fmla="*/ 1395 h 278"/>
                    <a:gd name="T40" fmla="*/ 1667 w 483"/>
                    <a:gd name="T41" fmla="*/ 1147 h 278"/>
                    <a:gd name="T42" fmla="*/ 1526 w 483"/>
                    <a:gd name="T43" fmla="*/ 1135 h 278"/>
                    <a:gd name="T44" fmla="*/ 1431 w 483"/>
                    <a:gd name="T45" fmla="*/ 1306 h 278"/>
                    <a:gd name="T46" fmla="*/ 1276 w 483"/>
                    <a:gd name="T47" fmla="*/ 1403 h 278"/>
                    <a:gd name="T48" fmla="*/ 1063 w 483"/>
                    <a:gd name="T49" fmla="*/ 1423 h 278"/>
                    <a:gd name="T50" fmla="*/ 958 w 483"/>
                    <a:gd name="T51" fmla="*/ 1423 h 278"/>
                    <a:gd name="T52" fmla="*/ 749 w 483"/>
                    <a:gd name="T53" fmla="*/ 1468 h 278"/>
                    <a:gd name="T54" fmla="*/ 642 w 483"/>
                    <a:gd name="T55" fmla="*/ 1395 h 278"/>
                    <a:gd name="T56" fmla="*/ 523 w 483"/>
                    <a:gd name="T57" fmla="*/ 1306 h 278"/>
                    <a:gd name="T58" fmla="*/ 514 w 483"/>
                    <a:gd name="T59" fmla="*/ 1180 h 278"/>
                    <a:gd name="T60" fmla="*/ 538 w 483"/>
                    <a:gd name="T61" fmla="*/ 1008 h 278"/>
                    <a:gd name="T62" fmla="*/ 393 w 483"/>
                    <a:gd name="T63" fmla="*/ 957 h 278"/>
                    <a:gd name="T64" fmla="*/ 197 w 483"/>
                    <a:gd name="T65" fmla="*/ 1042 h 278"/>
                    <a:gd name="T66" fmla="*/ 35 w 483"/>
                    <a:gd name="T67" fmla="*/ 1155 h 278"/>
                    <a:gd name="T68" fmla="*/ 24 w 483"/>
                    <a:gd name="T69" fmla="*/ 994 h 278"/>
                    <a:gd name="T70" fmla="*/ 85 w 483"/>
                    <a:gd name="T71" fmla="*/ 821 h 278"/>
                    <a:gd name="T72" fmla="*/ 165 w 483"/>
                    <a:gd name="T73" fmla="*/ 722 h 278"/>
                    <a:gd name="T74" fmla="*/ 319 w 483"/>
                    <a:gd name="T75" fmla="*/ 627 h 278"/>
                    <a:gd name="T76" fmla="*/ 393 w 483"/>
                    <a:gd name="T77" fmla="*/ 500 h 278"/>
                    <a:gd name="T78" fmla="*/ 538 w 483"/>
                    <a:gd name="T79" fmla="*/ 355 h 278"/>
                    <a:gd name="T80" fmla="*/ 775 w 483"/>
                    <a:gd name="T81" fmla="*/ 180 h 278"/>
                    <a:gd name="T82" fmla="*/ 749 w 483"/>
                    <a:gd name="T83" fmla="*/ 108 h 278"/>
                    <a:gd name="T84" fmla="*/ 882 w 483"/>
                    <a:gd name="T85" fmla="*/ 55 h 278"/>
                    <a:gd name="T86" fmla="*/ 1101 w 483"/>
                    <a:gd name="T87" fmla="*/ 55 h 27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483" h="278">
                      <a:moveTo>
                        <a:pt x="190" y="0"/>
                      </a:moveTo>
                      <a:lnTo>
                        <a:pt x="190" y="0"/>
                      </a:lnTo>
                      <a:lnTo>
                        <a:pt x="203" y="12"/>
                      </a:lnTo>
                      <a:lnTo>
                        <a:pt x="219" y="10"/>
                      </a:lnTo>
                      <a:lnTo>
                        <a:pt x="246" y="10"/>
                      </a:lnTo>
                      <a:lnTo>
                        <a:pt x="269" y="10"/>
                      </a:lnTo>
                      <a:lnTo>
                        <a:pt x="320" y="6"/>
                      </a:lnTo>
                      <a:lnTo>
                        <a:pt x="339" y="10"/>
                      </a:lnTo>
                      <a:lnTo>
                        <a:pt x="358" y="20"/>
                      </a:lnTo>
                      <a:lnTo>
                        <a:pt x="378" y="31"/>
                      </a:lnTo>
                      <a:lnTo>
                        <a:pt x="390" y="39"/>
                      </a:lnTo>
                      <a:lnTo>
                        <a:pt x="403" y="53"/>
                      </a:lnTo>
                      <a:lnTo>
                        <a:pt x="395" y="72"/>
                      </a:lnTo>
                      <a:lnTo>
                        <a:pt x="390" y="90"/>
                      </a:lnTo>
                      <a:lnTo>
                        <a:pt x="403" y="115"/>
                      </a:lnTo>
                      <a:lnTo>
                        <a:pt x="415" y="123"/>
                      </a:lnTo>
                      <a:lnTo>
                        <a:pt x="436" y="134"/>
                      </a:lnTo>
                      <a:lnTo>
                        <a:pt x="454" y="138"/>
                      </a:lnTo>
                      <a:lnTo>
                        <a:pt x="467" y="130"/>
                      </a:lnTo>
                      <a:lnTo>
                        <a:pt x="477" y="136"/>
                      </a:lnTo>
                      <a:lnTo>
                        <a:pt x="483" y="142"/>
                      </a:lnTo>
                      <a:lnTo>
                        <a:pt x="477" y="152"/>
                      </a:lnTo>
                      <a:lnTo>
                        <a:pt x="475" y="161"/>
                      </a:lnTo>
                      <a:lnTo>
                        <a:pt x="477" y="177"/>
                      </a:lnTo>
                      <a:lnTo>
                        <a:pt x="467" y="181"/>
                      </a:lnTo>
                      <a:lnTo>
                        <a:pt x="446" y="181"/>
                      </a:lnTo>
                      <a:lnTo>
                        <a:pt x="442" y="194"/>
                      </a:lnTo>
                      <a:lnTo>
                        <a:pt x="442" y="206"/>
                      </a:lnTo>
                      <a:lnTo>
                        <a:pt x="448" y="220"/>
                      </a:lnTo>
                      <a:lnTo>
                        <a:pt x="444" y="227"/>
                      </a:lnTo>
                      <a:lnTo>
                        <a:pt x="403" y="218"/>
                      </a:lnTo>
                      <a:lnTo>
                        <a:pt x="380" y="214"/>
                      </a:lnTo>
                      <a:lnTo>
                        <a:pt x="370" y="202"/>
                      </a:lnTo>
                      <a:lnTo>
                        <a:pt x="357" y="194"/>
                      </a:lnTo>
                      <a:lnTo>
                        <a:pt x="349" y="216"/>
                      </a:lnTo>
                      <a:lnTo>
                        <a:pt x="327" y="251"/>
                      </a:lnTo>
                      <a:lnTo>
                        <a:pt x="320" y="270"/>
                      </a:lnTo>
                      <a:lnTo>
                        <a:pt x="314" y="278"/>
                      </a:lnTo>
                      <a:lnTo>
                        <a:pt x="302" y="268"/>
                      </a:lnTo>
                      <a:lnTo>
                        <a:pt x="291" y="251"/>
                      </a:lnTo>
                      <a:lnTo>
                        <a:pt x="269" y="233"/>
                      </a:lnTo>
                      <a:lnTo>
                        <a:pt x="263" y="206"/>
                      </a:lnTo>
                      <a:lnTo>
                        <a:pt x="262" y="194"/>
                      </a:lnTo>
                      <a:lnTo>
                        <a:pt x="240" y="204"/>
                      </a:lnTo>
                      <a:lnTo>
                        <a:pt x="227" y="218"/>
                      </a:lnTo>
                      <a:lnTo>
                        <a:pt x="225" y="235"/>
                      </a:lnTo>
                      <a:lnTo>
                        <a:pt x="217" y="245"/>
                      </a:lnTo>
                      <a:lnTo>
                        <a:pt x="201" y="253"/>
                      </a:lnTo>
                      <a:lnTo>
                        <a:pt x="194" y="260"/>
                      </a:lnTo>
                      <a:lnTo>
                        <a:pt x="168" y="256"/>
                      </a:lnTo>
                      <a:lnTo>
                        <a:pt x="159" y="256"/>
                      </a:lnTo>
                      <a:lnTo>
                        <a:pt x="151" y="256"/>
                      </a:lnTo>
                      <a:lnTo>
                        <a:pt x="134" y="260"/>
                      </a:lnTo>
                      <a:lnTo>
                        <a:pt x="118" y="264"/>
                      </a:lnTo>
                      <a:lnTo>
                        <a:pt x="101" y="262"/>
                      </a:lnTo>
                      <a:lnTo>
                        <a:pt x="101" y="251"/>
                      </a:lnTo>
                      <a:lnTo>
                        <a:pt x="99" y="241"/>
                      </a:lnTo>
                      <a:lnTo>
                        <a:pt x="83" y="235"/>
                      </a:lnTo>
                      <a:lnTo>
                        <a:pt x="83" y="223"/>
                      </a:lnTo>
                      <a:lnTo>
                        <a:pt x="81" y="212"/>
                      </a:lnTo>
                      <a:lnTo>
                        <a:pt x="81" y="194"/>
                      </a:lnTo>
                      <a:lnTo>
                        <a:pt x="85" y="181"/>
                      </a:lnTo>
                      <a:lnTo>
                        <a:pt x="81" y="177"/>
                      </a:lnTo>
                      <a:lnTo>
                        <a:pt x="62" y="173"/>
                      </a:lnTo>
                      <a:lnTo>
                        <a:pt x="44" y="171"/>
                      </a:lnTo>
                      <a:lnTo>
                        <a:pt x="31" y="187"/>
                      </a:lnTo>
                      <a:lnTo>
                        <a:pt x="21" y="202"/>
                      </a:lnTo>
                      <a:lnTo>
                        <a:pt x="6" y="208"/>
                      </a:lnTo>
                      <a:lnTo>
                        <a:pt x="0" y="202"/>
                      </a:lnTo>
                      <a:lnTo>
                        <a:pt x="4" y="179"/>
                      </a:lnTo>
                      <a:lnTo>
                        <a:pt x="7" y="159"/>
                      </a:lnTo>
                      <a:lnTo>
                        <a:pt x="13" y="148"/>
                      </a:lnTo>
                      <a:lnTo>
                        <a:pt x="17" y="136"/>
                      </a:lnTo>
                      <a:lnTo>
                        <a:pt x="27" y="130"/>
                      </a:lnTo>
                      <a:lnTo>
                        <a:pt x="35" y="119"/>
                      </a:lnTo>
                      <a:lnTo>
                        <a:pt x="50" y="113"/>
                      </a:lnTo>
                      <a:lnTo>
                        <a:pt x="52" y="107"/>
                      </a:lnTo>
                      <a:lnTo>
                        <a:pt x="62" y="90"/>
                      </a:lnTo>
                      <a:lnTo>
                        <a:pt x="73" y="74"/>
                      </a:lnTo>
                      <a:lnTo>
                        <a:pt x="85" y="64"/>
                      </a:lnTo>
                      <a:lnTo>
                        <a:pt x="106" y="43"/>
                      </a:lnTo>
                      <a:lnTo>
                        <a:pt x="122" y="33"/>
                      </a:lnTo>
                      <a:lnTo>
                        <a:pt x="124" y="31"/>
                      </a:lnTo>
                      <a:lnTo>
                        <a:pt x="118" y="20"/>
                      </a:lnTo>
                      <a:lnTo>
                        <a:pt x="128" y="8"/>
                      </a:lnTo>
                      <a:lnTo>
                        <a:pt x="139" y="10"/>
                      </a:lnTo>
                      <a:lnTo>
                        <a:pt x="161" y="14"/>
                      </a:lnTo>
                      <a:lnTo>
                        <a:pt x="174" y="10"/>
                      </a:lnTo>
                      <a:lnTo>
                        <a:pt x="190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59" name="Freeform 29"/>
                <p:cNvSpPr>
                  <a:spLocks/>
                </p:cNvSpPr>
                <p:nvPr/>
              </p:nvSpPr>
              <p:spPr bwMode="gray">
                <a:xfrm>
                  <a:off x="4119083" y="1314771"/>
                  <a:ext cx="1235520" cy="1100032"/>
                </a:xfrm>
                <a:custGeom>
                  <a:avLst/>
                  <a:gdLst>
                    <a:gd name="T0" fmla="*/ 183 w 970"/>
                    <a:gd name="T1" fmla="*/ 1108 h 865"/>
                    <a:gd name="T2" fmla="*/ 124 w 970"/>
                    <a:gd name="T3" fmla="*/ 938 h 865"/>
                    <a:gd name="T4" fmla="*/ 252 w 970"/>
                    <a:gd name="T5" fmla="*/ 839 h 865"/>
                    <a:gd name="T6" fmla="*/ 512 w 970"/>
                    <a:gd name="T7" fmla="*/ 684 h 865"/>
                    <a:gd name="T8" fmla="*/ 1103 w 970"/>
                    <a:gd name="T9" fmla="*/ 468 h 865"/>
                    <a:gd name="T10" fmla="*/ 1429 w 970"/>
                    <a:gd name="T11" fmla="*/ 232 h 865"/>
                    <a:gd name="T12" fmla="*/ 1811 w 970"/>
                    <a:gd name="T13" fmla="*/ 73 h 865"/>
                    <a:gd name="T14" fmla="*/ 2193 w 970"/>
                    <a:gd name="T15" fmla="*/ 0 h 865"/>
                    <a:gd name="T16" fmla="*/ 2464 w 970"/>
                    <a:gd name="T17" fmla="*/ 129 h 865"/>
                    <a:gd name="T18" fmla="*/ 2332 w 970"/>
                    <a:gd name="T19" fmla="*/ 124 h 865"/>
                    <a:gd name="T20" fmla="*/ 2336 w 970"/>
                    <a:gd name="T21" fmla="*/ 277 h 865"/>
                    <a:gd name="T22" fmla="*/ 2494 w 970"/>
                    <a:gd name="T23" fmla="*/ 504 h 865"/>
                    <a:gd name="T24" fmla="*/ 2677 w 970"/>
                    <a:gd name="T25" fmla="*/ 409 h 865"/>
                    <a:gd name="T26" fmla="*/ 3030 w 970"/>
                    <a:gd name="T27" fmla="*/ 354 h 865"/>
                    <a:gd name="T28" fmla="*/ 3478 w 970"/>
                    <a:gd name="T29" fmla="*/ 387 h 865"/>
                    <a:gd name="T30" fmla="*/ 3993 w 970"/>
                    <a:gd name="T31" fmla="*/ 387 h 865"/>
                    <a:gd name="T32" fmla="*/ 4602 w 970"/>
                    <a:gd name="T33" fmla="*/ 219 h 865"/>
                    <a:gd name="T34" fmla="*/ 5006 w 970"/>
                    <a:gd name="T35" fmla="*/ 487 h 865"/>
                    <a:gd name="T36" fmla="*/ 5304 w 970"/>
                    <a:gd name="T37" fmla="*/ 1317 h 865"/>
                    <a:gd name="T38" fmla="*/ 5242 w 970"/>
                    <a:gd name="T39" fmla="*/ 1828 h 865"/>
                    <a:gd name="T40" fmla="*/ 5089 w 970"/>
                    <a:gd name="T41" fmla="*/ 2168 h 865"/>
                    <a:gd name="T42" fmla="*/ 5258 w 970"/>
                    <a:gd name="T43" fmla="*/ 2569 h 865"/>
                    <a:gd name="T44" fmla="*/ 5381 w 970"/>
                    <a:gd name="T45" fmla="*/ 2955 h 865"/>
                    <a:gd name="T46" fmla="*/ 5513 w 970"/>
                    <a:gd name="T47" fmla="*/ 3162 h 865"/>
                    <a:gd name="T48" fmla="*/ 5704 w 970"/>
                    <a:gd name="T49" fmla="*/ 3523 h 865"/>
                    <a:gd name="T50" fmla="*/ 5315 w 970"/>
                    <a:gd name="T51" fmla="*/ 4029 h 865"/>
                    <a:gd name="T52" fmla="*/ 5039 w 970"/>
                    <a:gd name="T53" fmla="*/ 4826 h 865"/>
                    <a:gd name="T54" fmla="*/ 4915 w 970"/>
                    <a:gd name="T55" fmla="*/ 4974 h 865"/>
                    <a:gd name="T56" fmla="*/ 4576 w 970"/>
                    <a:gd name="T57" fmla="*/ 4791 h 865"/>
                    <a:gd name="T58" fmla="*/ 4189 w 970"/>
                    <a:gd name="T59" fmla="*/ 4766 h 865"/>
                    <a:gd name="T60" fmla="*/ 3888 w 970"/>
                    <a:gd name="T61" fmla="*/ 4826 h 865"/>
                    <a:gd name="T62" fmla="*/ 3478 w 970"/>
                    <a:gd name="T63" fmla="*/ 5005 h 865"/>
                    <a:gd name="T64" fmla="*/ 3207 w 970"/>
                    <a:gd name="T65" fmla="*/ 4780 h 865"/>
                    <a:gd name="T66" fmla="*/ 2889 w 970"/>
                    <a:gd name="T67" fmla="*/ 4826 h 865"/>
                    <a:gd name="T68" fmla="*/ 2420 w 970"/>
                    <a:gd name="T69" fmla="*/ 4523 h 865"/>
                    <a:gd name="T70" fmla="*/ 2162 w 970"/>
                    <a:gd name="T71" fmla="*/ 4375 h 865"/>
                    <a:gd name="T72" fmla="*/ 2064 w 970"/>
                    <a:gd name="T73" fmla="*/ 4137 h 865"/>
                    <a:gd name="T74" fmla="*/ 1762 w 970"/>
                    <a:gd name="T75" fmla="*/ 4079 h 865"/>
                    <a:gd name="T76" fmla="*/ 1581 w 970"/>
                    <a:gd name="T77" fmla="*/ 4094 h 865"/>
                    <a:gd name="T78" fmla="*/ 1413 w 970"/>
                    <a:gd name="T79" fmla="*/ 4219 h 865"/>
                    <a:gd name="T80" fmla="*/ 1228 w 970"/>
                    <a:gd name="T81" fmla="*/ 3976 h 865"/>
                    <a:gd name="T82" fmla="*/ 1240 w 970"/>
                    <a:gd name="T83" fmla="*/ 3862 h 865"/>
                    <a:gd name="T84" fmla="*/ 898 w 970"/>
                    <a:gd name="T85" fmla="*/ 3689 h 865"/>
                    <a:gd name="T86" fmla="*/ 641 w 970"/>
                    <a:gd name="T87" fmla="*/ 3575 h 865"/>
                    <a:gd name="T88" fmla="*/ 400 w 970"/>
                    <a:gd name="T89" fmla="*/ 3689 h 865"/>
                    <a:gd name="T90" fmla="*/ 339 w 970"/>
                    <a:gd name="T91" fmla="*/ 3620 h 865"/>
                    <a:gd name="T92" fmla="*/ 425 w 970"/>
                    <a:gd name="T93" fmla="*/ 3168 h 865"/>
                    <a:gd name="T94" fmla="*/ 302 w 970"/>
                    <a:gd name="T95" fmla="*/ 3014 h 865"/>
                    <a:gd name="T96" fmla="*/ 218 w 970"/>
                    <a:gd name="T97" fmla="*/ 2679 h 865"/>
                    <a:gd name="T98" fmla="*/ 183 w 970"/>
                    <a:gd name="T99" fmla="*/ 2319 h 865"/>
                    <a:gd name="T100" fmla="*/ 130 w 970"/>
                    <a:gd name="T101" fmla="*/ 1982 h 865"/>
                    <a:gd name="T102" fmla="*/ 0 w 970"/>
                    <a:gd name="T103" fmla="*/ 1819 h 865"/>
                    <a:gd name="T104" fmla="*/ 109 w 970"/>
                    <a:gd name="T105" fmla="*/ 1445 h 865"/>
                    <a:gd name="T106" fmla="*/ 50 w 970"/>
                    <a:gd name="T107" fmla="*/ 1120 h 865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970" h="865">
                      <a:moveTo>
                        <a:pt x="2" y="176"/>
                      </a:moveTo>
                      <a:lnTo>
                        <a:pt x="19" y="184"/>
                      </a:lnTo>
                      <a:lnTo>
                        <a:pt x="31" y="192"/>
                      </a:lnTo>
                      <a:lnTo>
                        <a:pt x="35" y="182"/>
                      </a:lnTo>
                      <a:lnTo>
                        <a:pt x="35" y="166"/>
                      </a:lnTo>
                      <a:lnTo>
                        <a:pt x="21" y="162"/>
                      </a:lnTo>
                      <a:lnTo>
                        <a:pt x="13" y="161"/>
                      </a:lnTo>
                      <a:lnTo>
                        <a:pt x="27" y="151"/>
                      </a:lnTo>
                      <a:lnTo>
                        <a:pt x="43" y="145"/>
                      </a:lnTo>
                      <a:lnTo>
                        <a:pt x="44" y="151"/>
                      </a:lnTo>
                      <a:lnTo>
                        <a:pt x="64" y="130"/>
                      </a:lnTo>
                      <a:lnTo>
                        <a:pt x="87" y="118"/>
                      </a:lnTo>
                      <a:lnTo>
                        <a:pt x="116" y="112"/>
                      </a:lnTo>
                      <a:lnTo>
                        <a:pt x="171" y="97"/>
                      </a:lnTo>
                      <a:lnTo>
                        <a:pt x="188" y="81"/>
                      </a:lnTo>
                      <a:lnTo>
                        <a:pt x="205" y="64"/>
                      </a:lnTo>
                      <a:lnTo>
                        <a:pt x="221" y="48"/>
                      </a:lnTo>
                      <a:lnTo>
                        <a:pt x="244" y="40"/>
                      </a:lnTo>
                      <a:lnTo>
                        <a:pt x="264" y="29"/>
                      </a:lnTo>
                      <a:lnTo>
                        <a:pt x="281" y="19"/>
                      </a:lnTo>
                      <a:lnTo>
                        <a:pt x="308" y="13"/>
                      </a:lnTo>
                      <a:lnTo>
                        <a:pt x="328" y="7"/>
                      </a:lnTo>
                      <a:lnTo>
                        <a:pt x="351" y="2"/>
                      </a:lnTo>
                      <a:lnTo>
                        <a:pt x="374" y="0"/>
                      </a:lnTo>
                      <a:lnTo>
                        <a:pt x="392" y="5"/>
                      </a:lnTo>
                      <a:lnTo>
                        <a:pt x="407" y="11"/>
                      </a:lnTo>
                      <a:lnTo>
                        <a:pt x="419" y="23"/>
                      </a:lnTo>
                      <a:lnTo>
                        <a:pt x="417" y="34"/>
                      </a:lnTo>
                      <a:lnTo>
                        <a:pt x="405" y="29"/>
                      </a:lnTo>
                      <a:lnTo>
                        <a:pt x="396" y="21"/>
                      </a:lnTo>
                      <a:lnTo>
                        <a:pt x="386" y="17"/>
                      </a:lnTo>
                      <a:lnTo>
                        <a:pt x="390" y="29"/>
                      </a:lnTo>
                      <a:lnTo>
                        <a:pt x="397" y="48"/>
                      </a:lnTo>
                      <a:lnTo>
                        <a:pt x="407" y="67"/>
                      </a:lnTo>
                      <a:lnTo>
                        <a:pt x="413" y="81"/>
                      </a:lnTo>
                      <a:lnTo>
                        <a:pt x="425" y="87"/>
                      </a:lnTo>
                      <a:lnTo>
                        <a:pt x="427" y="79"/>
                      </a:lnTo>
                      <a:lnTo>
                        <a:pt x="432" y="73"/>
                      </a:lnTo>
                      <a:lnTo>
                        <a:pt x="456" y="71"/>
                      </a:lnTo>
                      <a:lnTo>
                        <a:pt x="477" y="64"/>
                      </a:lnTo>
                      <a:lnTo>
                        <a:pt x="494" y="54"/>
                      </a:lnTo>
                      <a:lnTo>
                        <a:pt x="516" y="60"/>
                      </a:lnTo>
                      <a:lnTo>
                        <a:pt x="545" y="64"/>
                      </a:lnTo>
                      <a:lnTo>
                        <a:pt x="568" y="67"/>
                      </a:lnTo>
                      <a:lnTo>
                        <a:pt x="591" y="67"/>
                      </a:lnTo>
                      <a:lnTo>
                        <a:pt x="624" y="71"/>
                      </a:lnTo>
                      <a:lnTo>
                        <a:pt x="653" y="67"/>
                      </a:lnTo>
                      <a:lnTo>
                        <a:pt x="679" y="67"/>
                      </a:lnTo>
                      <a:lnTo>
                        <a:pt x="704" y="62"/>
                      </a:lnTo>
                      <a:lnTo>
                        <a:pt x="745" y="46"/>
                      </a:lnTo>
                      <a:lnTo>
                        <a:pt x="783" y="38"/>
                      </a:lnTo>
                      <a:lnTo>
                        <a:pt x="809" y="48"/>
                      </a:lnTo>
                      <a:lnTo>
                        <a:pt x="842" y="67"/>
                      </a:lnTo>
                      <a:lnTo>
                        <a:pt x="851" y="85"/>
                      </a:lnTo>
                      <a:lnTo>
                        <a:pt x="857" y="112"/>
                      </a:lnTo>
                      <a:lnTo>
                        <a:pt x="873" y="159"/>
                      </a:lnTo>
                      <a:lnTo>
                        <a:pt x="902" y="228"/>
                      </a:lnTo>
                      <a:lnTo>
                        <a:pt x="906" y="254"/>
                      </a:lnTo>
                      <a:lnTo>
                        <a:pt x="909" y="285"/>
                      </a:lnTo>
                      <a:lnTo>
                        <a:pt x="892" y="316"/>
                      </a:lnTo>
                      <a:lnTo>
                        <a:pt x="869" y="333"/>
                      </a:lnTo>
                      <a:lnTo>
                        <a:pt x="853" y="356"/>
                      </a:lnTo>
                      <a:lnTo>
                        <a:pt x="865" y="374"/>
                      </a:lnTo>
                      <a:lnTo>
                        <a:pt x="894" y="393"/>
                      </a:lnTo>
                      <a:lnTo>
                        <a:pt x="894" y="417"/>
                      </a:lnTo>
                      <a:lnTo>
                        <a:pt x="894" y="444"/>
                      </a:lnTo>
                      <a:lnTo>
                        <a:pt x="896" y="465"/>
                      </a:lnTo>
                      <a:lnTo>
                        <a:pt x="909" y="486"/>
                      </a:lnTo>
                      <a:lnTo>
                        <a:pt x="915" y="510"/>
                      </a:lnTo>
                      <a:lnTo>
                        <a:pt x="927" y="529"/>
                      </a:lnTo>
                      <a:lnTo>
                        <a:pt x="931" y="541"/>
                      </a:lnTo>
                      <a:lnTo>
                        <a:pt x="937" y="546"/>
                      </a:lnTo>
                      <a:lnTo>
                        <a:pt x="956" y="564"/>
                      </a:lnTo>
                      <a:lnTo>
                        <a:pt x="956" y="583"/>
                      </a:lnTo>
                      <a:lnTo>
                        <a:pt x="970" y="609"/>
                      </a:lnTo>
                      <a:lnTo>
                        <a:pt x="966" y="636"/>
                      </a:lnTo>
                      <a:lnTo>
                        <a:pt x="937" y="667"/>
                      </a:lnTo>
                      <a:lnTo>
                        <a:pt x="904" y="696"/>
                      </a:lnTo>
                      <a:lnTo>
                        <a:pt x="880" y="733"/>
                      </a:lnTo>
                      <a:lnTo>
                        <a:pt x="857" y="804"/>
                      </a:lnTo>
                      <a:lnTo>
                        <a:pt x="857" y="834"/>
                      </a:lnTo>
                      <a:lnTo>
                        <a:pt x="863" y="857"/>
                      </a:lnTo>
                      <a:lnTo>
                        <a:pt x="844" y="863"/>
                      </a:lnTo>
                      <a:lnTo>
                        <a:pt x="836" y="859"/>
                      </a:lnTo>
                      <a:lnTo>
                        <a:pt x="816" y="857"/>
                      </a:lnTo>
                      <a:lnTo>
                        <a:pt x="795" y="843"/>
                      </a:lnTo>
                      <a:lnTo>
                        <a:pt x="778" y="828"/>
                      </a:lnTo>
                      <a:lnTo>
                        <a:pt x="758" y="818"/>
                      </a:lnTo>
                      <a:lnTo>
                        <a:pt x="733" y="818"/>
                      </a:lnTo>
                      <a:lnTo>
                        <a:pt x="712" y="824"/>
                      </a:lnTo>
                      <a:lnTo>
                        <a:pt x="694" y="834"/>
                      </a:lnTo>
                      <a:lnTo>
                        <a:pt x="681" y="845"/>
                      </a:lnTo>
                      <a:lnTo>
                        <a:pt x="661" y="834"/>
                      </a:lnTo>
                      <a:lnTo>
                        <a:pt x="624" y="835"/>
                      </a:lnTo>
                      <a:lnTo>
                        <a:pt x="609" y="855"/>
                      </a:lnTo>
                      <a:lnTo>
                        <a:pt x="591" y="865"/>
                      </a:lnTo>
                      <a:lnTo>
                        <a:pt x="578" y="863"/>
                      </a:lnTo>
                      <a:lnTo>
                        <a:pt x="564" y="843"/>
                      </a:lnTo>
                      <a:lnTo>
                        <a:pt x="545" y="826"/>
                      </a:lnTo>
                      <a:lnTo>
                        <a:pt x="527" y="816"/>
                      </a:lnTo>
                      <a:lnTo>
                        <a:pt x="510" y="826"/>
                      </a:lnTo>
                      <a:lnTo>
                        <a:pt x="491" y="834"/>
                      </a:lnTo>
                      <a:lnTo>
                        <a:pt x="461" y="820"/>
                      </a:lnTo>
                      <a:lnTo>
                        <a:pt x="432" y="810"/>
                      </a:lnTo>
                      <a:lnTo>
                        <a:pt x="411" y="781"/>
                      </a:lnTo>
                      <a:lnTo>
                        <a:pt x="396" y="760"/>
                      </a:lnTo>
                      <a:lnTo>
                        <a:pt x="378" y="752"/>
                      </a:lnTo>
                      <a:lnTo>
                        <a:pt x="368" y="756"/>
                      </a:lnTo>
                      <a:lnTo>
                        <a:pt x="353" y="742"/>
                      </a:lnTo>
                      <a:lnTo>
                        <a:pt x="351" y="729"/>
                      </a:lnTo>
                      <a:lnTo>
                        <a:pt x="351" y="715"/>
                      </a:lnTo>
                      <a:lnTo>
                        <a:pt x="337" y="711"/>
                      </a:lnTo>
                      <a:lnTo>
                        <a:pt x="314" y="711"/>
                      </a:lnTo>
                      <a:lnTo>
                        <a:pt x="299" y="706"/>
                      </a:lnTo>
                      <a:lnTo>
                        <a:pt x="283" y="700"/>
                      </a:lnTo>
                      <a:lnTo>
                        <a:pt x="269" y="696"/>
                      </a:lnTo>
                      <a:lnTo>
                        <a:pt x="269" y="707"/>
                      </a:lnTo>
                      <a:lnTo>
                        <a:pt x="273" y="717"/>
                      </a:lnTo>
                      <a:lnTo>
                        <a:pt x="252" y="733"/>
                      </a:lnTo>
                      <a:lnTo>
                        <a:pt x="240" y="729"/>
                      </a:lnTo>
                      <a:lnTo>
                        <a:pt x="223" y="709"/>
                      </a:lnTo>
                      <a:lnTo>
                        <a:pt x="205" y="696"/>
                      </a:lnTo>
                      <a:lnTo>
                        <a:pt x="209" y="688"/>
                      </a:lnTo>
                      <a:lnTo>
                        <a:pt x="211" y="676"/>
                      </a:lnTo>
                      <a:lnTo>
                        <a:pt x="211" y="671"/>
                      </a:lnTo>
                      <a:lnTo>
                        <a:pt x="211" y="667"/>
                      </a:lnTo>
                      <a:lnTo>
                        <a:pt x="190" y="665"/>
                      </a:lnTo>
                      <a:lnTo>
                        <a:pt x="174" y="642"/>
                      </a:lnTo>
                      <a:lnTo>
                        <a:pt x="153" y="638"/>
                      </a:lnTo>
                      <a:lnTo>
                        <a:pt x="136" y="636"/>
                      </a:lnTo>
                      <a:lnTo>
                        <a:pt x="120" y="638"/>
                      </a:lnTo>
                      <a:lnTo>
                        <a:pt x="110" y="618"/>
                      </a:lnTo>
                      <a:lnTo>
                        <a:pt x="93" y="609"/>
                      </a:lnTo>
                      <a:lnTo>
                        <a:pt x="81" y="620"/>
                      </a:lnTo>
                      <a:lnTo>
                        <a:pt x="68" y="638"/>
                      </a:lnTo>
                      <a:lnTo>
                        <a:pt x="56" y="630"/>
                      </a:lnTo>
                      <a:lnTo>
                        <a:pt x="56" y="628"/>
                      </a:lnTo>
                      <a:lnTo>
                        <a:pt x="58" y="626"/>
                      </a:lnTo>
                      <a:lnTo>
                        <a:pt x="62" y="616"/>
                      </a:lnTo>
                      <a:lnTo>
                        <a:pt x="70" y="583"/>
                      </a:lnTo>
                      <a:lnTo>
                        <a:pt x="72" y="548"/>
                      </a:lnTo>
                      <a:lnTo>
                        <a:pt x="70" y="541"/>
                      </a:lnTo>
                      <a:lnTo>
                        <a:pt x="64" y="535"/>
                      </a:lnTo>
                      <a:lnTo>
                        <a:pt x="52" y="521"/>
                      </a:lnTo>
                      <a:lnTo>
                        <a:pt x="41" y="506"/>
                      </a:lnTo>
                      <a:lnTo>
                        <a:pt x="39" y="481"/>
                      </a:lnTo>
                      <a:lnTo>
                        <a:pt x="37" y="463"/>
                      </a:lnTo>
                      <a:lnTo>
                        <a:pt x="39" y="446"/>
                      </a:lnTo>
                      <a:lnTo>
                        <a:pt x="35" y="417"/>
                      </a:lnTo>
                      <a:lnTo>
                        <a:pt x="31" y="401"/>
                      </a:lnTo>
                      <a:lnTo>
                        <a:pt x="29" y="380"/>
                      </a:lnTo>
                      <a:lnTo>
                        <a:pt x="27" y="358"/>
                      </a:lnTo>
                      <a:lnTo>
                        <a:pt x="23" y="343"/>
                      </a:lnTo>
                      <a:lnTo>
                        <a:pt x="12" y="333"/>
                      </a:lnTo>
                      <a:lnTo>
                        <a:pt x="0" y="325"/>
                      </a:lnTo>
                      <a:lnTo>
                        <a:pt x="0" y="314"/>
                      </a:lnTo>
                      <a:lnTo>
                        <a:pt x="8" y="292"/>
                      </a:lnTo>
                      <a:lnTo>
                        <a:pt x="17" y="271"/>
                      </a:lnTo>
                      <a:lnTo>
                        <a:pt x="19" y="250"/>
                      </a:lnTo>
                      <a:lnTo>
                        <a:pt x="19" y="223"/>
                      </a:lnTo>
                      <a:lnTo>
                        <a:pt x="13" y="209"/>
                      </a:lnTo>
                      <a:lnTo>
                        <a:pt x="8" y="194"/>
                      </a:lnTo>
                      <a:lnTo>
                        <a:pt x="2" y="176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0" name="Freeform 30"/>
                <p:cNvSpPr>
                  <a:spLocks/>
                </p:cNvSpPr>
                <p:nvPr/>
              </p:nvSpPr>
              <p:spPr bwMode="gray">
                <a:xfrm>
                  <a:off x="2226327" y="3561780"/>
                  <a:ext cx="48012" cy="43745"/>
                </a:xfrm>
                <a:custGeom>
                  <a:avLst/>
                  <a:gdLst>
                    <a:gd name="T0" fmla="*/ 0 w 39"/>
                    <a:gd name="T1" fmla="*/ 0 h 35"/>
                    <a:gd name="T2" fmla="*/ 50 w 39"/>
                    <a:gd name="T3" fmla="*/ 88 h 35"/>
                    <a:gd name="T4" fmla="*/ 77 w 39"/>
                    <a:gd name="T5" fmla="*/ 146 h 35"/>
                    <a:gd name="T6" fmla="*/ 120 w 39"/>
                    <a:gd name="T7" fmla="*/ 169 h 35"/>
                    <a:gd name="T8" fmla="*/ 163 w 39"/>
                    <a:gd name="T9" fmla="*/ 163 h 35"/>
                    <a:gd name="T10" fmla="*/ 163 w 39"/>
                    <a:gd name="T11" fmla="*/ 119 h 35"/>
                    <a:gd name="T12" fmla="*/ 120 w 39"/>
                    <a:gd name="T13" fmla="*/ 48 h 35"/>
                    <a:gd name="T14" fmla="*/ 50 w 39"/>
                    <a:gd name="T15" fmla="*/ 29 h 35"/>
                    <a:gd name="T16" fmla="*/ 0 w 39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9" h="35">
                      <a:moveTo>
                        <a:pt x="0" y="0"/>
                      </a:moveTo>
                      <a:lnTo>
                        <a:pt x="12" y="18"/>
                      </a:lnTo>
                      <a:lnTo>
                        <a:pt x="18" y="31"/>
                      </a:lnTo>
                      <a:lnTo>
                        <a:pt x="29" y="35"/>
                      </a:lnTo>
                      <a:lnTo>
                        <a:pt x="39" y="33"/>
                      </a:lnTo>
                      <a:lnTo>
                        <a:pt x="39" y="24"/>
                      </a:lnTo>
                      <a:lnTo>
                        <a:pt x="29" y="10"/>
                      </a:lnTo>
                      <a:lnTo>
                        <a:pt x="12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1" name="Freeform 34"/>
                <p:cNvSpPr>
                  <a:spLocks/>
                </p:cNvSpPr>
                <p:nvPr/>
              </p:nvSpPr>
              <p:spPr bwMode="gray">
                <a:xfrm>
                  <a:off x="5784581" y="2464949"/>
                  <a:ext cx="507865" cy="564420"/>
                </a:xfrm>
                <a:custGeom>
                  <a:avLst/>
                  <a:gdLst>
                    <a:gd name="T0" fmla="*/ 1496 w 398"/>
                    <a:gd name="T1" fmla="*/ 2576 h 443"/>
                    <a:gd name="T2" fmla="*/ 1301 w 398"/>
                    <a:gd name="T3" fmla="*/ 2527 h 443"/>
                    <a:gd name="T4" fmla="*/ 1261 w 398"/>
                    <a:gd name="T5" fmla="*/ 2314 h 443"/>
                    <a:gd name="T6" fmla="*/ 1160 w 398"/>
                    <a:gd name="T7" fmla="*/ 2043 h 443"/>
                    <a:gd name="T8" fmla="*/ 1110 w 398"/>
                    <a:gd name="T9" fmla="*/ 1638 h 443"/>
                    <a:gd name="T10" fmla="*/ 824 w 398"/>
                    <a:gd name="T11" fmla="*/ 1103 h 443"/>
                    <a:gd name="T12" fmla="*/ 446 w 398"/>
                    <a:gd name="T13" fmla="*/ 690 h 443"/>
                    <a:gd name="T14" fmla="*/ 254 w 398"/>
                    <a:gd name="T15" fmla="*/ 376 h 443"/>
                    <a:gd name="T16" fmla="*/ 0 w 398"/>
                    <a:gd name="T17" fmla="*/ 219 h 443"/>
                    <a:gd name="T18" fmla="*/ 86 w 398"/>
                    <a:gd name="T19" fmla="*/ 123 h 443"/>
                    <a:gd name="T20" fmla="*/ 271 w 398"/>
                    <a:gd name="T21" fmla="*/ 104 h 443"/>
                    <a:gd name="T22" fmla="*/ 429 w 398"/>
                    <a:gd name="T23" fmla="*/ 0 h 443"/>
                    <a:gd name="T24" fmla="*/ 614 w 398"/>
                    <a:gd name="T25" fmla="*/ 24 h 443"/>
                    <a:gd name="T26" fmla="*/ 791 w 398"/>
                    <a:gd name="T27" fmla="*/ 104 h 443"/>
                    <a:gd name="T28" fmla="*/ 948 w 398"/>
                    <a:gd name="T29" fmla="*/ 196 h 443"/>
                    <a:gd name="T30" fmla="*/ 1125 w 398"/>
                    <a:gd name="T31" fmla="*/ 155 h 443"/>
                    <a:gd name="T32" fmla="*/ 1308 w 398"/>
                    <a:gd name="T33" fmla="*/ 147 h 443"/>
                    <a:gd name="T34" fmla="*/ 1460 w 398"/>
                    <a:gd name="T35" fmla="*/ 242 h 443"/>
                    <a:gd name="T36" fmla="*/ 1618 w 398"/>
                    <a:gd name="T37" fmla="*/ 279 h 443"/>
                    <a:gd name="T38" fmla="*/ 1640 w 398"/>
                    <a:gd name="T39" fmla="*/ 449 h 443"/>
                    <a:gd name="T40" fmla="*/ 1647 w 398"/>
                    <a:gd name="T41" fmla="*/ 638 h 443"/>
                    <a:gd name="T42" fmla="*/ 1789 w 398"/>
                    <a:gd name="T43" fmla="*/ 743 h 443"/>
                    <a:gd name="T44" fmla="*/ 1940 w 398"/>
                    <a:gd name="T45" fmla="*/ 824 h 443"/>
                    <a:gd name="T46" fmla="*/ 1997 w 398"/>
                    <a:gd name="T47" fmla="*/ 984 h 443"/>
                    <a:gd name="T48" fmla="*/ 2138 w 398"/>
                    <a:gd name="T49" fmla="*/ 1102 h 443"/>
                    <a:gd name="T50" fmla="*/ 2287 w 398"/>
                    <a:gd name="T51" fmla="*/ 1176 h 443"/>
                    <a:gd name="T52" fmla="*/ 2331 w 398"/>
                    <a:gd name="T53" fmla="*/ 1361 h 443"/>
                    <a:gd name="T54" fmla="*/ 2373 w 398"/>
                    <a:gd name="T55" fmla="*/ 1531 h 443"/>
                    <a:gd name="T56" fmla="*/ 2199 w 398"/>
                    <a:gd name="T57" fmla="*/ 1593 h 443"/>
                    <a:gd name="T58" fmla="*/ 2015 w 398"/>
                    <a:gd name="T59" fmla="*/ 1593 h 443"/>
                    <a:gd name="T60" fmla="*/ 1882 w 398"/>
                    <a:gd name="T61" fmla="*/ 1580 h 443"/>
                    <a:gd name="T62" fmla="*/ 1778 w 398"/>
                    <a:gd name="T63" fmla="*/ 1736 h 443"/>
                    <a:gd name="T64" fmla="*/ 1789 w 398"/>
                    <a:gd name="T65" fmla="*/ 1924 h 443"/>
                    <a:gd name="T66" fmla="*/ 1714 w 398"/>
                    <a:gd name="T67" fmla="*/ 2086 h 443"/>
                    <a:gd name="T68" fmla="*/ 1670 w 398"/>
                    <a:gd name="T69" fmla="*/ 2264 h 443"/>
                    <a:gd name="T70" fmla="*/ 1588 w 398"/>
                    <a:gd name="T71" fmla="*/ 2422 h 443"/>
                    <a:gd name="T72" fmla="*/ 1534 w 398"/>
                    <a:gd name="T73" fmla="*/ 2615 h 443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398" h="443">
                      <a:moveTo>
                        <a:pt x="256" y="443"/>
                      </a:moveTo>
                      <a:lnTo>
                        <a:pt x="250" y="437"/>
                      </a:lnTo>
                      <a:lnTo>
                        <a:pt x="235" y="423"/>
                      </a:lnTo>
                      <a:lnTo>
                        <a:pt x="217" y="429"/>
                      </a:lnTo>
                      <a:lnTo>
                        <a:pt x="215" y="417"/>
                      </a:lnTo>
                      <a:lnTo>
                        <a:pt x="211" y="392"/>
                      </a:lnTo>
                      <a:lnTo>
                        <a:pt x="204" y="371"/>
                      </a:lnTo>
                      <a:lnTo>
                        <a:pt x="194" y="347"/>
                      </a:lnTo>
                      <a:lnTo>
                        <a:pt x="194" y="313"/>
                      </a:lnTo>
                      <a:lnTo>
                        <a:pt x="186" y="278"/>
                      </a:lnTo>
                      <a:lnTo>
                        <a:pt x="165" y="223"/>
                      </a:lnTo>
                      <a:lnTo>
                        <a:pt x="138" y="188"/>
                      </a:lnTo>
                      <a:lnTo>
                        <a:pt x="103" y="154"/>
                      </a:lnTo>
                      <a:lnTo>
                        <a:pt x="74" y="117"/>
                      </a:lnTo>
                      <a:lnTo>
                        <a:pt x="62" y="88"/>
                      </a:lnTo>
                      <a:lnTo>
                        <a:pt x="43" y="64"/>
                      </a:lnTo>
                      <a:lnTo>
                        <a:pt x="14" y="43"/>
                      </a:lnTo>
                      <a:lnTo>
                        <a:pt x="0" y="37"/>
                      </a:lnTo>
                      <a:lnTo>
                        <a:pt x="0" y="35"/>
                      </a:lnTo>
                      <a:lnTo>
                        <a:pt x="14" y="20"/>
                      </a:lnTo>
                      <a:lnTo>
                        <a:pt x="29" y="22"/>
                      </a:lnTo>
                      <a:lnTo>
                        <a:pt x="45" y="18"/>
                      </a:lnTo>
                      <a:lnTo>
                        <a:pt x="56" y="6"/>
                      </a:lnTo>
                      <a:lnTo>
                        <a:pt x="72" y="0"/>
                      </a:lnTo>
                      <a:lnTo>
                        <a:pt x="87" y="2"/>
                      </a:lnTo>
                      <a:lnTo>
                        <a:pt x="103" y="4"/>
                      </a:lnTo>
                      <a:lnTo>
                        <a:pt x="118" y="10"/>
                      </a:lnTo>
                      <a:lnTo>
                        <a:pt x="132" y="18"/>
                      </a:lnTo>
                      <a:lnTo>
                        <a:pt x="144" y="26"/>
                      </a:lnTo>
                      <a:lnTo>
                        <a:pt x="159" y="33"/>
                      </a:lnTo>
                      <a:lnTo>
                        <a:pt x="175" y="35"/>
                      </a:lnTo>
                      <a:lnTo>
                        <a:pt x="188" y="27"/>
                      </a:lnTo>
                      <a:lnTo>
                        <a:pt x="204" y="24"/>
                      </a:lnTo>
                      <a:lnTo>
                        <a:pt x="219" y="24"/>
                      </a:lnTo>
                      <a:lnTo>
                        <a:pt x="233" y="31"/>
                      </a:lnTo>
                      <a:lnTo>
                        <a:pt x="244" y="41"/>
                      </a:lnTo>
                      <a:lnTo>
                        <a:pt x="258" y="35"/>
                      </a:lnTo>
                      <a:lnTo>
                        <a:pt x="270" y="47"/>
                      </a:lnTo>
                      <a:lnTo>
                        <a:pt x="273" y="62"/>
                      </a:lnTo>
                      <a:lnTo>
                        <a:pt x="273" y="76"/>
                      </a:lnTo>
                      <a:lnTo>
                        <a:pt x="275" y="91"/>
                      </a:lnTo>
                      <a:lnTo>
                        <a:pt x="275" y="107"/>
                      </a:lnTo>
                      <a:lnTo>
                        <a:pt x="289" y="117"/>
                      </a:lnTo>
                      <a:lnTo>
                        <a:pt x="299" y="126"/>
                      </a:lnTo>
                      <a:lnTo>
                        <a:pt x="314" y="126"/>
                      </a:lnTo>
                      <a:lnTo>
                        <a:pt x="324" y="140"/>
                      </a:lnTo>
                      <a:lnTo>
                        <a:pt x="324" y="157"/>
                      </a:lnTo>
                      <a:lnTo>
                        <a:pt x="334" y="167"/>
                      </a:lnTo>
                      <a:lnTo>
                        <a:pt x="343" y="181"/>
                      </a:lnTo>
                      <a:lnTo>
                        <a:pt x="357" y="187"/>
                      </a:lnTo>
                      <a:lnTo>
                        <a:pt x="374" y="190"/>
                      </a:lnTo>
                      <a:lnTo>
                        <a:pt x="382" y="200"/>
                      </a:lnTo>
                      <a:lnTo>
                        <a:pt x="388" y="216"/>
                      </a:lnTo>
                      <a:lnTo>
                        <a:pt x="390" y="231"/>
                      </a:lnTo>
                      <a:lnTo>
                        <a:pt x="398" y="245"/>
                      </a:lnTo>
                      <a:lnTo>
                        <a:pt x="396" y="260"/>
                      </a:lnTo>
                      <a:lnTo>
                        <a:pt x="384" y="272"/>
                      </a:lnTo>
                      <a:lnTo>
                        <a:pt x="368" y="270"/>
                      </a:lnTo>
                      <a:lnTo>
                        <a:pt x="353" y="272"/>
                      </a:lnTo>
                      <a:lnTo>
                        <a:pt x="337" y="270"/>
                      </a:lnTo>
                      <a:lnTo>
                        <a:pt x="324" y="282"/>
                      </a:lnTo>
                      <a:lnTo>
                        <a:pt x="314" y="268"/>
                      </a:lnTo>
                      <a:lnTo>
                        <a:pt x="301" y="280"/>
                      </a:lnTo>
                      <a:lnTo>
                        <a:pt x="297" y="295"/>
                      </a:lnTo>
                      <a:lnTo>
                        <a:pt x="299" y="313"/>
                      </a:lnTo>
                      <a:lnTo>
                        <a:pt x="299" y="326"/>
                      </a:lnTo>
                      <a:lnTo>
                        <a:pt x="301" y="344"/>
                      </a:lnTo>
                      <a:lnTo>
                        <a:pt x="287" y="353"/>
                      </a:lnTo>
                      <a:lnTo>
                        <a:pt x="279" y="367"/>
                      </a:lnTo>
                      <a:lnTo>
                        <a:pt x="279" y="384"/>
                      </a:lnTo>
                      <a:lnTo>
                        <a:pt x="266" y="394"/>
                      </a:lnTo>
                      <a:lnTo>
                        <a:pt x="266" y="410"/>
                      </a:lnTo>
                      <a:lnTo>
                        <a:pt x="266" y="425"/>
                      </a:lnTo>
                      <a:lnTo>
                        <a:pt x="256" y="443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2" name="Freeform 36"/>
                <p:cNvSpPr>
                  <a:spLocks/>
                </p:cNvSpPr>
                <p:nvPr/>
              </p:nvSpPr>
              <p:spPr bwMode="gray">
                <a:xfrm>
                  <a:off x="4469041" y="2347584"/>
                  <a:ext cx="714852" cy="376635"/>
                </a:xfrm>
                <a:custGeom>
                  <a:avLst/>
                  <a:gdLst>
                    <a:gd name="T0" fmla="*/ 930 w 561"/>
                    <a:gd name="T1" fmla="*/ 0 h 295"/>
                    <a:gd name="T2" fmla="*/ 762 w 561"/>
                    <a:gd name="T3" fmla="*/ 35 h 295"/>
                    <a:gd name="T4" fmla="*/ 573 w 561"/>
                    <a:gd name="T5" fmla="*/ 282 h 295"/>
                    <a:gd name="T6" fmla="*/ 573 w 561"/>
                    <a:gd name="T7" fmla="*/ 432 h 295"/>
                    <a:gd name="T8" fmla="*/ 313 w 561"/>
                    <a:gd name="T9" fmla="*/ 726 h 295"/>
                    <a:gd name="T10" fmla="*/ 147 w 561"/>
                    <a:gd name="T11" fmla="*/ 734 h 295"/>
                    <a:gd name="T12" fmla="*/ 0 w 561"/>
                    <a:gd name="T13" fmla="*/ 926 h 295"/>
                    <a:gd name="T14" fmla="*/ 2 w 561"/>
                    <a:gd name="T15" fmla="*/ 1091 h 295"/>
                    <a:gd name="T16" fmla="*/ 86 w 561"/>
                    <a:gd name="T17" fmla="*/ 1343 h 295"/>
                    <a:gd name="T18" fmla="*/ 155 w 561"/>
                    <a:gd name="T19" fmla="*/ 1477 h 295"/>
                    <a:gd name="T20" fmla="*/ 155 w 561"/>
                    <a:gd name="T21" fmla="*/ 1493 h 295"/>
                    <a:gd name="T22" fmla="*/ 234 w 561"/>
                    <a:gd name="T23" fmla="*/ 1534 h 295"/>
                    <a:gd name="T24" fmla="*/ 313 w 561"/>
                    <a:gd name="T25" fmla="*/ 1581 h 295"/>
                    <a:gd name="T26" fmla="*/ 527 w 561"/>
                    <a:gd name="T27" fmla="*/ 1727 h 295"/>
                    <a:gd name="T28" fmla="*/ 600 w 561"/>
                    <a:gd name="T29" fmla="*/ 1772 h 295"/>
                    <a:gd name="T30" fmla="*/ 717 w 561"/>
                    <a:gd name="T31" fmla="*/ 1767 h 295"/>
                    <a:gd name="T32" fmla="*/ 824 w 561"/>
                    <a:gd name="T33" fmla="*/ 1749 h 295"/>
                    <a:gd name="T34" fmla="*/ 910 w 561"/>
                    <a:gd name="T35" fmla="*/ 1736 h 295"/>
                    <a:gd name="T36" fmla="*/ 975 w 561"/>
                    <a:gd name="T37" fmla="*/ 1749 h 295"/>
                    <a:gd name="T38" fmla="*/ 1035 w 561"/>
                    <a:gd name="T39" fmla="*/ 1736 h 295"/>
                    <a:gd name="T40" fmla="*/ 1087 w 561"/>
                    <a:gd name="T41" fmla="*/ 1661 h 295"/>
                    <a:gd name="T42" fmla="*/ 1093 w 561"/>
                    <a:gd name="T43" fmla="*/ 1632 h 295"/>
                    <a:gd name="T44" fmla="*/ 1176 w 561"/>
                    <a:gd name="T45" fmla="*/ 1505 h 295"/>
                    <a:gd name="T46" fmla="*/ 1341 w 561"/>
                    <a:gd name="T47" fmla="*/ 1462 h 295"/>
                    <a:gd name="T48" fmla="*/ 1511 w 561"/>
                    <a:gd name="T49" fmla="*/ 1388 h 295"/>
                    <a:gd name="T50" fmla="*/ 1677 w 561"/>
                    <a:gd name="T51" fmla="*/ 1282 h 295"/>
                    <a:gd name="T52" fmla="*/ 1877 w 561"/>
                    <a:gd name="T53" fmla="*/ 1321 h 295"/>
                    <a:gd name="T54" fmla="*/ 2017 w 561"/>
                    <a:gd name="T55" fmla="*/ 1227 h 295"/>
                    <a:gd name="T56" fmla="*/ 2129 w 561"/>
                    <a:gd name="T57" fmla="*/ 1195 h 295"/>
                    <a:gd name="T58" fmla="*/ 2180 w 561"/>
                    <a:gd name="T59" fmla="*/ 1051 h 295"/>
                    <a:gd name="T60" fmla="*/ 2348 w 561"/>
                    <a:gd name="T61" fmla="*/ 926 h 295"/>
                    <a:gd name="T62" fmla="*/ 2543 w 561"/>
                    <a:gd name="T63" fmla="*/ 926 h 295"/>
                    <a:gd name="T64" fmla="*/ 2672 w 561"/>
                    <a:gd name="T65" fmla="*/ 897 h 295"/>
                    <a:gd name="T66" fmla="*/ 2839 w 561"/>
                    <a:gd name="T67" fmla="*/ 926 h 295"/>
                    <a:gd name="T68" fmla="*/ 3032 w 561"/>
                    <a:gd name="T69" fmla="*/ 1043 h 295"/>
                    <a:gd name="T70" fmla="*/ 3172 w 561"/>
                    <a:gd name="T71" fmla="*/ 982 h 295"/>
                    <a:gd name="T72" fmla="*/ 3180 w 561"/>
                    <a:gd name="T73" fmla="*/ 926 h 295"/>
                    <a:gd name="T74" fmla="*/ 3194 w 561"/>
                    <a:gd name="T75" fmla="*/ 826 h 295"/>
                    <a:gd name="T76" fmla="*/ 3215 w 561"/>
                    <a:gd name="T77" fmla="*/ 713 h 295"/>
                    <a:gd name="T78" fmla="*/ 3243 w 561"/>
                    <a:gd name="T79" fmla="*/ 619 h 295"/>
                    <a:gd name="T80" fmla="*/ 3280 w 561"/>
                    <a:gd name="T81" fmla="*/ 494 h 295"/>
                    <a:gd name="T82" fmla="*/ 3312 w 561"/>
                    <a:gd name="T83" fmla="*/ 373 h 295"/>
                    <a:gd name="T84" fmla="*/ 3312 w 561"/>
                    <a:gd name="T85" fmla="*/ 299 h 295"/>
                    <a:gd name="T86" fmla="*/ 3194 w 561"/>
                    <a:gd name="T87" fmla="*/ 282 h 295"/>
                    <a:gd name="T88" fmla="*/ 3071 w 561"/>
                    <a:gd name="T89" fmla="*/ 197 h 295"/>
                    <a:gd name="T90" fmla="*/ 2974 w 561"/>
                    <a:gd name="T91" fmla="*/ 108 h 295"/>
                    <a:gd name="T92" fmla="*/ 2851 w 561"/>
                    <a:gd name="T93" fmla="*/ 50 h 295"/>
                    <a:gd name="T94" fmla="*/ 2703 w 561"/>
                    <a:gd name="T95" fmla="*/ 50 h 295"/>
                    <a:gd name="T96" fmla="*/ 2578 w 561"/>
                    <a:gd name="T97" fmla="*/ 86 h 295"/>
                    <a:gd name="T98" fmla="*/ 2473 w 561"/>
                    <a:gd name="T99" fmla="*/ 147 h 295"/>
                    <a:gd name="T100" fmla="*/ 2392 w 561"/>
                    <a:gd name="T101" fmla="*/ 211 h 295"/>
                    <a:gd name="T102" fmla="*/ 2281 w 561"/>
                    <a:gd name="T103" fmla="*/ 147 h 295"/>
                    <a:gd name="T104" fmla="*/ 2063 w 561"/>
                    <a:gd name="T105" fmla="*/ 148 h 295"/>
                    <a:gd name="T106" fmla="*/ 1975 w 561"/>
                    <a:gd name="T107" fmla="*/ 272 h 295"/>
                    <a:gd name="T108" fmla="*/ 1862 w 561"/>
                    <a:gd name="T109" fmla="*/ 334 h 295"/>
                    <a:gd name="T110" fmla="*/ 1789 w 561"/>
                    <a:gd name="T111" fmla="*/ 315 h 295"/>
                    <a:gd name="T112" fmla="*/ 1704 w 561"/>
                    <a:gd name="T113" fmla="*/ 197 h 295"/>
                    <a:gd name="T114" fmla="*/ 1593 w 561"/>
                    <a:gd name="T115" fmla="*/ 102 h 295"/>
                    <a:gd name="T116" fmla="*/ 1485 w 561"/>
                    <a:gd name="T117" fmla="*/ 35 h 295"/>
                    <a:gd name="T118" fmla="*/ 1390 w 561"/>
                    <a:gd name="T119" fmla="*/ 102 h 295"/>
                    <a:gd name="T120" fmla="*/ 1277 w 561"/>
                    <a:gd name="T121" fmla="*/ 147 h 295"/>
                    <a:gd name="T122" fmla="*/ 1093 w 561"/>
                    <a:gd name="T123" fmla="*/ 60 h 295"/>
                    <a:gd name="T124" fmla="*/ 930 w 561"/>
                    <a:gd name="T125" fmla="*/ 0 h 29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561" h="295">
                      <a:moveTo>
                        <a:pt x="157" y="0"/>
                      </a:moveTo>
                      <a:lnTo>
                        <a:pt x="128" y="6"/>
                      </a:lnTo>
                      <a:lnTo>
                        <a:pt x="97" y="47"/>
                      </a:lnTo>
                      <a:lnTo>
                        <a:pt x="97" y="72"/>
                      </a:lnTo>
                      <a:lnTo>
                        <a:pt x="53" y="120"/>
                      </a:lnTo>
                      <a:lnTo>
                        <a:pt x="24" y="122"/>
                      </a:lnTo>
                      <a:lnTo>
                        <a:pt x="0" y="155"/>
                      </a:lnTo>
                      <a:lnTo>
                        <a:pt x="2" y="181"/>
                      </a:lnTo>
                      <a:lnTo>
                        <a:pt x="14" y="223"/>
                      </a:lnTo>
                      <a:lnTo>
                        <a:pt x="27" y="245"/>
                      </a:lnTo>
                      <a:lnTo>
                        <a:pt x="27" y="248"/>
                      </a:lnTo>
                      <a:lnTo>
                        <a:pt x="39" y="254"/>
                      </a:lnTo>
                      <a:lnTo>
                        <a:pt x="53" y="262"/>
                      </a:lnTo>
                      <a:lnTo>
                        <a:pt x="89" y="287"/>
                      </a:lnTo>
                      <a:lnTo>
                        <a:pt x="101" y="295"/>
                      </a:lnTo>
                      <a:lnTo>
                        <a:pt x="121" y="293"/>
                      </a:lnTo>
                      <a:lnTo>
                        <a:pt x="140" y="291"/>
                      </a:lnTo>
                      <a:lnTo>
                        <a:pt x="153" y="289"/>
                      </a:lnTo>
                      <a:lnTo>
                        <a:pt x="165" y="291"/>
                      </a:lnTo>
                      <a:lnTo>
                        <a:pt x="175" y="289"/>
                      </a:lnTo>
                      <a:lnTo>
                        <a:pt x="183" y="276"/>
                      </a:lnTo>
                      <a:lnTo>
                        <a:pt x="186" y="272"/>
                      </a:lnTo>
                      <a:lnTo>
                        <a:pt x="200" y="250"/>
                      </a:lnTo>
                      <a:lnTo>
                        <a:pt x="227" y="243"/>
                      </a:lnTo>
                      <a:lnTo>
                        <a:pt x="256" y="231"/>
                      </a:lnTo>
                      <a:lnTo>
                        <a:pt x="285" y="212"/>
                      </a:lnTo>
                      <a:lnTo>
                        <a:pt x="318" y="219"/>
                      </a:lnTo>
                      <a:lnTo>
                        <a:pt x="342" y="204"/>
                      </a:lnTo>
                      <a:lnTo>
                        <a:pt x="361" y="198"/>
                      </a:lnTo>
                      <a:lnTo>
                        <a:pt x="369" y="175"/>
                      </a:lnTo>
                      <a:lnTo>
                        <a:pt x="398" y="155"/>
                      </a:lnTo>
                      <a:lnTo>
                        <a:pt x="431" y="155"/>
                      </a:lnTo>
                      <a:lnTo>
                        <a:pt x="452" y="150"/>
                      </a:lnTo>
                      <a:lnTo>
                        <a:pt x="481" y="155"/>
                      </a:lnTo>
                      <a:lnTo>
                        <a:pt x="514" y="173"/>
                      </a:lnTo>
                      <a:lnTo>
                        <a:pt x="537" y="163"/>
                      </a:lnTo>
                      <a:lnTo>
                        <a:pt x="539" y="155"/>
                      </a:lnTo>
                      <a:lnTo>
                        <a:pt x="541" y="138"/>
                      </a:lnTo>
                      <a:lnTo>
                        <a:pt x="545" y="119"/>
                      </a:lnTo>
                      <a:lnTo>
                        <a:pt x="549" y="103"/>
                      </a:lnTo>
                      <a:lnTo>
                        <a:pt x="555" y="82"/>
                      </a:lnTo>
                      <a:lnTo>
                        <a:pt x="561" y="62"/>
                      </a:lnTo>
                      <a:lnTo>
                        <a:pt x="561" y="49"/>
                      </a:lnTo>
                      <a:lnTo>
                        <a:pt x="541" y="47"/>
                      </a:lnTo>
                      <a:lnTo>
                        <a:pt x="520" y="33"/>
                      </a:lnTo>
                      <a:lnTo>
                        <a:pt x="503" y="18"/>
                      </a:lnTo>
                      <a:lnTo>
                        <a:pt x="483" y="8"/>
                      </a:lnTo>
                      <a:lnTo>
                        <a:pt x="458" y="8"/>
                      </a:lnTo>
                      <a:lnTo>
                        <a:pt x="437" y="14"/>
                      </a:lnTo>
                      <a:lnTo>
                        <a:pt x="419" y="24"/>
                      </a:lnTo>
                      <a:lnTo>
                        <a:pt x="406" y="35"/>
                      </a:lnTo>
                      <a:lnTo>
                        <a:pt x="386" y="24"/>
                      </a:lnTo>
                      <a:lnTo>
                        <a:pt x="349" y="25"/>
                      </a:lnTo>
                      <a:lnTo>
                        <a:pt x="334" y="45"/>
                      </a:lnTo>
                      <a:lnTo>
                        <a:pt x="316" y="55"/>
                      </a:lnTo>
                      <a:lnTo>
                        <a:pt x="303" y="53"/>
                      </a:lnTo>
                      <a:lnTo>
                        <a:pt x="289" y="33"/>
                      </a:lnTo>
                      <a:lnTo>
                        <a:pt x="270" y="16"/>
                      </a:lnTo>
                      <a:lnTo>
                        <a:pt x="252" y="6"/>
                      </a:lnTo>
                      <a:lnTo>
                        <a:pt x="235" y="16"/>
                      </a:lnTo>
                      <a:lnTo>
                        <a:pt x="216" y="24"/>
                      </a:lnTo>
                      <a:lnTo>
                        <a:pt x="186" y="10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3" name="Freeform 37"/>
                <p:cNvSpPr>
                  <a:spLocks/>
                </p:cNvSpPr>
                <p:nvPr/>
              </p:nvSpPr>
              <p:spPr bwMode="gray">
                <a:xfrm>
                  <a:off x="3836344" y="2063774"/>
                  <a:ext cx="835416" cy="497201"/>
                </a:xfrm>
                <a:custGeom>
                  <a:avLst/>
                  <a:gdLst>
                    <a:gd name="T0" fmla="*/ 3110 w 655"/>
                    <a:gd name="T1" fmla="*/ 1940 h 392"/>
                    <a:gd name="T2" fmla="*/ 3544 w 655"/>
                    <a:gd name="T3" fmla="*/ 1663 h 392"/>
                    <a:gd name="T4" fmla="*/ 3731 w 655"/>
                    <a:gd name="T5" fmla="*/ 1287 h 392"/>
                    <a:gd name="T6" fmla="*/ 3780 w 655"/>
                    <a:gd name="T7" fmla="*/ 1096 h 392"/>
                    <a:gd name="T8" fmla="*/ 3583 w 655"/>
                    <a:gd name="T9" fmla="*/ 928 h 392"/>
                    <a:gd name="T10" fmla="*/ 3436 w 655"/>
                    <a:gd name="T11" fmla="*/ 870 h 392"/>
                    <a:gd name="T12" fmla="*/ 3420 w 655"/>
                    <a:gd name="T13" fmla="*/ 720 h 392"/>
                    <a:gd name="T14" fmla="*/ 3198 w 655"/>
                    <a:gd name="T15" fmla="*/ 699 h 392"/>
                    <a:gd name="T16" fmla="*/ 3014 w 655"/>
                    <a:gd name="T17" fmla="*/ 634 h 392"/>
                    <a:gd name="T18" fmla="*/ 2930 w 655"/>
                    <a:gd name="T19" fmla="*/ 676 h 392"/>
                    <a:gd name="T20" fmla="*/ 2834 w 655"/>
                    <a:gd name="T21" fmla="*/ 825 h 392"/>
                    <a:gd name="T22" fmla="*/ 2656 w 655"/>
                    <a:gd name="T23" fmla="*/ 687 h 392"/>
                    <a:gd name="T24" fmla="*/ 2573 w 655"/>
                    <a:gd name="T25" fmla="*/ 569 h 392"/>
                    <a:gd name="T26" fmla="*/ 2586 w 655"/>
                    <a:gd name="T27" fmla="*/ 474 h 392"/>
                    <a:gd name="T28" fmla="*/ 2464 w 655"/>
                    <a:gd name="T29" fmla="*/ 443 h 392"/>
                    <a:gd name="T30" fmla="*/ 2238 w 655"/>
                    <a:gd name="T31" fmla="*/ 289 h 392"/>
                    <a:gd name="T32" fmla="*/ 2047 w 655"/>
                    <a:gd name="T33" fmla="*/ 289 h 392"/>
                    <a:gd name="T34" fmla="*/ 1885 w 655"/>
                    <a:gd name="T35" fmla="*/ 125 h 392"/>
                    <a:gd name="T36" fmla="*/ 1733 w 655"/>
                    <a:gd name="T37" fmla="*/ 289 h 392"/>
                    <a:gd name="T38" fmla="*/ 1650 w 655"/>
                    <a:gd name="T39" fmla="*/ 231 h 392"/>
                    <a:gd name="T40" fmla="*/ 1528 w 655"/>
                    <a:gd name="T41" fmla="*/ 145 h 392"/>
                    <a:gd name="T42" fmla="*/ 1340 w 655"/>
                    <a:gd name="T43" fmla="*/ 0 h 392"/>
                    <a:gd name="T44" fmla="*/ 1296 w 655"/>
                    <a:gd name="T45" fmla="*/ 231 h 392"/>
                    <a:gd name="T46" fmla="*/ 1003 w 655"/>
                    <a:gd name="T47" fmla="*/ 327 h 392"/>
                    <a:gd name="T48" fmla="*/ 814 w 655"/>
                    <a:gd name="T49" fmla="*/ 474 h 392"/>
                    <a:gd name="T50" fmla="*/ 516 w 655"/>
                    <a:gd name="T51" fmla="*/ 593 h 392"/>
                    <a:gd name="T52" fmla="*/ 359 w 655"/>
                    <a:gd name="T53" fmla="*/ 634 h 392"/>
                    <a:gd name="T54" fmla="*/ 250 w 655"/>
                    <a:gd name="T55" fmla="*/ 732 h 392"/>
                    <a:gd name="T56" fmla="*/ 184 w 655"/>
                    <a:gd name="T57" fmla="*/ 825 h 392"/>
                    <a:gd name="T58" fmla="*/ 35 w 655"/>
                    <a:gd name="T59" fmla="*/ 657 h 392"/>
                    <a:gd name="T60" fmla="*/ 0 w 655"/>
                    <a:gd name="T61" fmla="*/ 802 h 392"/>
                    <a:gd name="T62" fmla="*/ 220 w 655"/>
                    <a:gd name="T63" fmla="*/ 959 h 392"/>
                    <a:gd name="T64" fmla="*/ 234 w 655"/>
                    <a:gd name="T65" fmla="*/ 1282 h 392"/>
                    <a:gd name="T66" fmla="*/ 638 w 655"/>
                    <a:gd name="T67" fmla="*/ 1663 h 392"/>
                    <a:gd name="T68" fmla="*/ 825 w 655"/>
                    <a:gd name="T69" fmla="*/ 1884 h 392"/>
                    <a:gd name="T70" fmla="*/ 1073 w 655"/>
                    <a:gd name="T71" fmla="*/ 2083 h 392"/>
                    <a:gd name="T72" fmla="*/ 1296 w 655"/>
                    <a:gd name="T73" fmla="*/ 2200 h 392"/>
                    <a:gd name="T74" fmla="*/ 1553 w 655"/>
                    <a:gd name="T75" fmla="*/ 2200 h 392"/>
                    <a:gd name="T76" fmla="*/ 1757 w 655"/>
                    <a:gd name="T77" fmla="*/ 2065 h 392"/>
                    <a:gd name="T78" fmla="*/ 1859 w 655"/>
                    <a:gd name="T79" fmla="*/ 1884 h 392"/>
                    <a:gd name="T80" fmla="*/ 2219 w 655"/>
                    <a:gd name="T81" fmla="*/ 1887 h 392"/>
                    <a:gd name="T82" fmla="*/ 2480 w 655"/>
                    <a:gd name="T83" fmla="*/ 2065 h 392"/>
                    <a:gd name="T84" fmla="*/ 2876 w 655"/>
                    <a:gd name="T85" fmla="*/ 2028 h 39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0" t="0" r="r" b="b"/>
                  <a:pathLst>
                    <a:path w="655" h="392">
                      <a:moveTo>
                        <a:pt x="498" y="378"/>
                      </a:moveTo>
                      <a:lnTo>
                        <a:pt x="522" y="345"/>
                      </a:lnTo>
                      <a:lnTo>
                        <a:pt x="551" y="343"/>
                      </a:lnTo>
                      <a:lnTo>
                        <a:pt x="595" y="295"/>
                      </a:lnTo>
                      <a:lnTo>
                        <a:pt x="595" y="270"/>
                      </a:lnTo>
                      <a:lnTo>
                        <a:pt x="626" y="229"/>
                      </a:lnTo>
                      <a:lnTo>
                        <a:pt x="655" y="223"/>
                      </a:lnTo>
                      <a:lnTo>
                        <a:pt x="634" y="194"/>
                      </a:lnTo>
                      <a:lnTo>
                        <a:pt x="619" y="173"/>
                      </a:lnTo>
                      <a:lnTo>
                        <a:pt x="601" y="165"/>
                      </a:lnTo>
                      <a:lnTo>
                        <a:pt x="591" y="169"/>
                      </a:lnTo>
                      <a:lnTo>
                        <a:pt x="576" y="155"/>
                      </a:lnTo>
                      <a:lnTo>
                        <a:pt x="574" y="142"/>
                      </a:lnTo>
                      <a:lnTo>
                        <a:pt x="574" y="128"/>
                      </a:lnTo>
                      <a:lnTo>
                        <a:pt x="560" y="124"/>
                      </a:lnTo>
                      <a:lnTo>
                        <a:pt x="537" y="124"/>
                      </a:lnTo>
                      <a:lnTo>
                        <a:pt x="522" y="119"/>
                      </a:lnTo>
                      <a:lnTo>
                        <a:pt x="506" y="113"/>
                      </a:lnTo>
                      <a:lnTo>
                        <a:pt x="492" y="109"/>
                      </a:lnTo>
                      <a:lnTo>
                        <a:pt x="492" y="120"/>
                      </a:lnTo>
                      <a:lnTo>
                        <a:pt x="496" y="130"/>
                      </a:lnTo>
                      <a:lnTo>
                        <a:pt x="475" y="146"/>
                      </a:lnTo>
                      <a:lnTo>
                        <a:pt x="463" y="142"/>
                      </a:lnTo>
                      <a:lnTo>
                        <a:pt x="446" y="122"/>
                      </a:lnTo>
                      <a:lnTo>
                        <a:pt x="428" y="109"/>
                      </a:lnTo>
                      <a:lnTo>
                        <a:pt x="432" y="101"/>
                      </a:lnTo>
                      <a:lnTo>
                        <a:pt x="434" y="89"/>
                      </a:lnTo>
                      <a:lnTo>
                        <a:pt x="434" y="84"/>
                      </a:lnTo>
                      <a:lnTo>
                        <a:pt x="434" y="80"/>
                      </a:lnTo>
                      <a:lnTo>
                        <a:pt x="413" y="78"/>
                      </a:lnTo>
                      <a:lnTo>
                        <a:pt x="397" y="55"/>
                      </a:lnTo>
                      <a:lnTo>
                        <a:pt x="376" y="51"/>
                      </a:lnTo>
                      <a:lnTo>
                        <a:pt x="359" y="49"/>
                      </a:lnTo>
                      <a:lnTo>
                        <a:pt x="343" y="51"/>
                      </a:lnTo>
                      <a:lnTo>
                        <a:pt x="333" y="31"/>
                      </a:lnTo>
                      <a:lnTo>
                        <a:pt x="316" y="22"/>
                      </a:lnTo>
                      <a:lnTo>
                        <a:pt x="304" y="33"/>
                      </a:lnTo>
                      <a:lnTo>
                        <a:pt x="291" y="51"/>
                      </a:lnTo>
                      <a:lnTo>
                        <a:pt x="279" y="43"/>
                      </a:lnTo>
                      <a:lnTo>
                        <a:pt x="277" y="41"/>
                      </a:lnTo>
                      <a:lnTo>
                        <a:pt x="267" y="43"/>
                      </a:lnTo>
                      <a:lnTo>
                        <a:pt x="256" y="25"/>
                      </a:lnTo>
                      <a:lnTo>
                        <a:pt x="242" y="4"/>
                      </a:lnTo>
                      <a:lnTo>
                        <a:pt x="225" y="0"/>
                      </a:lnTo>
                      <a:lnTo>
                        <a:pt x="223" y="20"/>
                      </a:lnTo>
                      <a:lnTo>
                        <a:pt x="217" y="41"/>
                      </a:lnTo>
                      <a:lnTo>
                        <a:pt x="196" y="49"/>
                      </a:lnTo>
                      <a:lnTo>
                        <a:pt x="169" y="58"/>
                      </a:lnTo>
                      <a:lnTo>
                        <a:pt x="149" y="64"/>
                      </a:lnTo>
                      <a:lnTo>
                        <a:pt x="136" y="84"/>
                      </a:lnTo>
                      <a:lnTo>
                        <a:pt x="107" y="99"/>
                      </a:lnTo>
                      <a:lnTo>
                        <a:pt x="87" y="105"/>
                      </a:lnTo>
                      <a:lnTo>
                        <a:pt x="75" y="109"/>
                      </a:lnTo>
                      <a:lnTo>
                        <a:pt x="60" y="113"/>
                      </a:lnTo>
                      <a:lnTo>
                        <a:pt x="46" y="120"/>
                      </a:lnTo>
                      <a:lnTo>
                        <a:pt x="41" y="130"/>
                      </a:lnTo>
                      <a:lnTo>
                        <a:pt x="37" y="144"/>
                      </a:lnTo>
                      <a:lnTo>
                        <a:pt x="31" y="146"/>
                      </a:lnTo>
                      <a:lnTo>
                        <a:pt x="25" y="134"/>
                      </a:lnTo>
                      <a:lnTo>
                        <a:pt x="6" y="117"/>
                      </a:lnTo>
                      <a:lnTo>
                        <a:pt x="2" y="124"/>
                      </a:lnTo>
                      <a:lnTo>
                        <a:pt x="0" y="142"/>
                      </a:lnTo>
                      <a:lnTo>
                        <a:pt x="15" y="161"/>
                      </a:lnTo>
                      <a:lnTo>
                        <a:pt x="37" y="171"/>
                      </a:lnTo>
                      <a:lnTo>
                        <a:pt x="41" y="192"/>
                      </a:lnTo>
                      <a:lnTo>
                        <a:pt x="39" y="227"/>
                      </a:lnTo>
                      <a:lnTo>
                        <a:pt x="56" y="250"/>
                      </a:lnTo>
                      <a:lnTo>
                        <a:pt x="107" y="295"/>
                      </a:lnTo>
                      <a:lnTo>
                        <a:pt x="126" y="318"/>
                      </a:lnTo>
                      <a:lnTo>
                        <a:pt x="139" y="334"/>
                      </a:lnTo>
                      <a:lnTo>
                        <a:pt x="172" y="357"/>
                      </a:lnTo>
                      <a:lnTo>
                        <a:pt x="180" y="369"/>
                      </a:lnTo>
                      <a:lnTo>
                        <a:pt x="203" y="378"/>
                      </a:lnTo>
                      <a:lnTo>
                        <a:pt x="217" y="390"/>
                      </a:lnTo>
                      <a:lnTo>
                        <a:pt x="238" y="392"/>
                      </a:lnTo>
                      <a:lnTo>
                        <a:pt x="260" y="390"/>
                      </a:lnTo>
                      <a:lnTo>
                        <a:pt x="275" y="382"/>
                      </a:lnTo>
                      <a:lnTo>
                        <a:pt x="295" y="367"/>
                      </a:lnTo>
                      <a:lnTo>
                        <a:pt x="300" y="351"/>
                      </a:lnTo>
                      <a:lnTo>
                        <a:pt x="312" y="334"/>
                      </a:lnTo>
                      <a:lnTo>
                        <a:pt x="341" y="336"/>
                      </a:lnTo>
                      <a:lnTo>
                        <a:pt x="372" y="336"/>
                      </a:lnTo>
                      <a:lnTo>
                        <a:pt x="390" y="343"/>
                      </a:lnTo>
                      <a:lnTo>
                        <a:pt x="417" y="367"/>
                      </a:lnTo>
                      <a:lnTo>
                        <a:pt x="446" y="363"/>
                      </a:lnTo>
                      <a:lnTo>
                        <a:pt x="483" y="359"/>
                      </a:lnTo>
                      <a:lnTo>
                        <a:pt x="498" y="37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4" name="Freeform 2"/>
                <p:cNvSpPr>
                  <a:spLocks noChangeAspect="1"/>
                </p:cNvSpPr>
                <p:nvPr/>
              </p:nvSpPr>
              <p:spPr>
                <a:xfrm rot="21220102">
                  <a:off x="4945076" y="3570605"/>
                  <a:ext cx="271660" cy="28391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043956" h="4465638">
                      <a:moveTo>
                        <a:pt x="1942633" y="144056"/>
                      </a:moveTo>
                      <a:lnTo>
                        <a:pt x="1935520" y="143489"/>
                      </a:lnTo>
                      <a:lnTo>
                        <a:pt x="1912294" y="136238"/>
                      </a:lnTo>
                      <a:lnTo>
                        <a:pt x="1885964" y="160533"/>
                      </a:lnTo>
                      <a:lnTo>
                        <a:pt x="1887374" y="176633"/>
                      </a:lnTo>
                      <a:lnTo>
                        <a:pt x="1883789" y="222337"/>
                      </a:lnTo>
                      <a:lnTo>
                        <a:pt x="1876878" y="263319"/>
                      </a:lnTo>
                      <a:lnTo>
                        <a:pt x="1867627" y="265917"/>
                      </a:lnTo>
                      <a:lnTo>
                        <a:pt x="1882553" y="291537"/>
                      </a:lnTo>
                      <a:lnTo>
                        <a:pt x="2052297" y="391231"/>
                      </a:lnTo>
                      <a:lnTo>
                        <a:pt x="2238298" y="500184"/>
                      </a:lnTo>
                      <a:lnTo>
                        <a:pt x="2265264" y="515951"/>
                      </a:lnTo>
                      <a:lnTo>
                        <a:pt x="2312792" y="534026"/>
                      </a:lnTo>
                      <a:lnTo>
                        <a:pt x="2466261" y="542187"/>
                      </a:lnTo>
                      <a:lnTo>
                        <a:pt x="2502911" y="570805"/>
                      </a:lnTo>
                      <a:lnTo>
                        <a:pt x="2538745" y="643985"/>
                      </a:lnTo>
                      <a:lnTo>
                        <a:pt x="2574393" y="808967"/>
                      </a:lnTo>
                      <a:lnTo>
                        <a:pt x="2594258" y="850462"/>
                      </a:lnTo>
                      <a:lnTo>
                        <a:pt x="2634543" y="874002"/>
                      </a:lnTo>
                      <a:lnTo>
                        <a:pt x="2666846" y="856657"/>
                      </a:lnTo>
                      <a:lnTo>
                        <a:pt x="2698174" y="833536"/>
                      </a:lnTo>
                      <a:lnTo>
                        <a:pt x="2736736" y="839749"/>
                      </a:lnTo>
                      <a:lnTo>
                        <a:pt x="2772696" y="909872"/>
                      </a:lnTo>
                      <a:lnTo>
                        <a:pt x="2776409" y="1007514"/>
                      </a:lnTo>
                      <a:lnTo>
                        <a:pt x="2789899" y="1107002"/>
                      </a:lnTo>
                      <a:lnTo>
                        <a:pt x="2855029" y="1183345"/>
                      </a:lnTo>
                      <a:lnTo>
                        <a:pt x="2880562" y="1190389"/>
                      </a:lnTo>
                      <a:lnTo>
                        <a:pt x="2934425" y="1189808"/>
                      </a:lnTo>
                      <a:lnTo>
                        <a:pt x="2960674" y="1195783"/>
                      </a:lnTo>
                      <a:lnTo>
                        <a:pt x="2985298" y="1210874"/>
                      </a:lnTo>
                      <a:lnTo>
                        <a:pt x="3030308" y="1248873"/>
                      </a:lnTo>
                      <a:lnTo>
                        <a:pt x="3054228" y="1263300"/>
                      </a:lnTo>
                      <a:lnTo>
                        <a:pt x="3128237" y="1280375"/>
                      </a:lnTo>
                      <a:lnTo>
                        <a:pt x="3174750" y="1282386"/>
                      </a:lnTo>
                      <a:lnTo>
                        <a:pt x="3196831" y="1306087"/>
                      </a:lnTo>
                      <a:lnTo>
                        <a:pt x="3196883" y="1322619"/>
                      </a:lnTo>
                      <a:lnTo>
                        <a:pt x="3197092" y="1388699"/>
                      </a:lnTo>
                      <a:lnTo>
                        <a:pt x="3187625" y="1441535"/>
                      </a:lnTo>
                      <a:lnTo>
                        <a:pt x="3156980" y="1547358"/>
                      </a:lnTo>
                      <a:lnTo>
                        <a:pt x="3149382" y="1596027"/>
                      </a:lnTo>
                      <a:lnTo>
                        <a:pt x="3142067" y="1611761"/>
                      </a:lnTo>
                      <a:lnTo>
                        <a:pt x="3131131" y="1621176"/>
                      </a:lnTo>
                      <a:lnTo>
                        <a:pt x="3129988" y="1630211"/>
                      </a:lnTo>
                      <a:lnTo>
                        <a:pt x="3153251" y="1646094"/>
                      </a:lnTo>
                      <a:lnTo>
                        <a:pt x="3192265" y="1657666"/>
                      </a:lnTo>
                      <a:lnTo>
                        <a:pt x="3220588" y="1656642"/>
                      </a:lnTo>
                      <a:lnTo>
                        <a:pt x="3276104" y="1654625"/>
                      </a:lnTo>
                      <a:lnTo>
                        <a:pt x="3509046" y="1685349"/>
                      </a:lnTo>
                      <a:lnTo>
                        <a:pt x="3561754" y="1702674"/>
                      </a:lnTo>
                      <a:lnTo>
                        <a:pt x="3597375" y="1733787"/>
                      </a:lnTo>
                      <a:lnTo>
                        <a:pt x="3672498" y="1827010"/>
                      </a:lnTo>
                      <a:lnTo>
                        <a:pt x="3711456" y="1852456"/>
                      </a:lnTo>
                      <a:lnTo>
                        <a:pt x="3745414" y="1851836"/>
                      </a:lnTo>
                      <a:lnTo>
                        <a:pt x="3845190" y="1805223"/>
                      </a:lnTo>
                      <a:lnTo>
                        <a:pt x="3894911" y="1803625"/>
                      </a:lnTo>
                      <a:lnTo>
                        <a:pt x="3963922" y="1818801"/>
                      </a:lnTo>
                      <a:lnTo>
                        <a:pt x="3976959" y="1827256"/>
                      </a:lnTo>
                      <a:lnTo>
                        <a:pt x="4023865" y="1857639"/>
                      </a:lnTo>
                      <a:lnTo>
                        <a:pt x="4043955" y="1927048"/>
                      </a:lnTo>
                      <a:lnTo>
                        <a:pt x="4031082" y="1954832"/>
                      </a:lnTo>
                      <a:lnTo>
                        <a:pt x="4006839" y="1971108"/>
                      </a:lnTo>
                      <a:lnTo>
                        <a:pt x="3979205" y="1983909"/>
                      </a:lnTo>
                      <a:lnTo>
                        <a:pt x="3956637" y="2001123"/>
                      </a:lnTo>
                      <a:lnTo>
                        <a:pt x="3958646" y="2010456"/>
                      </a:lnTo>
                      <a:lnTo>
                        <a:pt x="3946587" y="2074342"/>
                      </a:lnTo>
                      <a:lnTo>
                        <a:pt x="3943799" y="2082906"/>
                      </a:lnTo>
                      <a:lnTo>
                        <a:pt x="3939545" y="2088963"/>
                      </a:lnTo>
                      <a:lnTo>
                        <a:pt x="3923820" y="2097004"/>
                      </a:lnTo>
                      <a:lnTo>
                        <a:pt x="3919599" y="2106074"/>
                      </a:lnTo>
                      <a:lnTo>
                        <a:pt x="3923081" y="2119704"/>
                      </a:lnTo>
                      <a:lnTo>
                        <a:pt x="3939636" y="2147026"/>
                      </a:lnTo>
                      <a:lnTo>
                        <a:pt x="3941909" y="2158963"/>
                      </a:lnTo>
                      <a:lnTo>
                        <a:pt x="3919372" y="2231558"/>
                      </a:lnTo>
                      <a:lnTo>
                        <a:pt x="3805627" y="2424801"/>
                      </a:lnTo>
                      <a:lnTo>
                        <a:pt x="3713606" y="2519133"/>
                      </a:lnTo>
                      <a:lnTo>
                        <a:pt x="3693267" y="2554353"/>
                      </a:lnTo>
                      <a:lnTo>
                        <a:pt x="3688874" y="2602621"/>
                      </a:lnTo>
                      <a:lnTo>
                        <a:pt x="3701249" y="2702457"/>
                      </a:lnTo>
                      <a:lnTo>
                        <a:pt x="3691334" y="2751420"/>
                      </a:lnTo>
                      <a:lnTo>
                        <a:pt x="3643424" y="2797600"/>
                      </a:lnTo>
                      <a:lnTo>
                        <a:pt x="3505810" y="2841055"/>
                      </a:lnTo>
                      <a:lnTo>
                        <a:pt x="3456675" y="2893959"/>
                      </a:lnTo>
                      <a:lnTo>
                        <a:pt x="3454581" y="2969842"/>
                      </a:lnTo>
                      <a:lnTo>
                        <a:pt x="3546320" y="3107167"/>
                      </a:lnTo>
                      <a:lnTo>
                        <a:pt x="3570773" y="3194142"/>
                      </a:lnTo>
                      <a:lnTo>
                        <a:pt x="3565508" y="3191422"/>
                      </a:lnTo>
                      <a:lnTo>
                        <a:pt x="3467937" y="3217782"/>
                      </a:lnTo>
                      <a:lnTo>
                        <a:pt x="3420024" y="3219268"/>
                      </a:lnTo>
                      <a:lnTo>
                        <a:pt x="3378408" y="3190851"/>
                      </a:lnTo>
                      <a:lnTo>
                        <a:pt x="3356374" y="3218231"/>
                      </a:lnTo>
                      <a:lnTo>
                        <a:pt x="3346170" y="3230918"/>
                      </a:lnTo>
                      <a:lnTo>
                        <a:pt x="3322046" y="3225063"/>
                      </a:lnTo>
                      <a:lnTo>
                        <a:pt x="3300227" y="3202838"/>
                      </a:lnTo>
                      <a:lnTo>
                        <a:pt x="3273203" y="3194391"/>
                      </a:lnTo>
                      <a:lnTo>
                        <a:pt x="3235053" y="3216096"/>
                      </a:lnTo>
                      <a:lnTo>
                        <a:pt x="3238829" y="3243483"/>
                      </a:lnTo>
                      <a:lnTo>
                        <a:pt x="3255865" y="3271027"/>
                      </a:lnTo>
                      <a:lnTo>
                        <a:pt x="3258646" y="3292153"/>
                      </a:lnTo>
                      <a:lnTo>
                        <a:pt x="3233606" y="3294901"/>
                      </a:lnTo>
                      <a:lnTo>
                        <a:pt x="3152241" y="3264168"/>
                      </a:lnTo>
                      <a:lnTo>
                        <a:pt x="3111556" y="3267806"/>
                      </a:lnTo>
                      <a:lnTo>
                        <a:pt x="3097199" y="3279662"/>
                      </a:lnTo>
                      <a:lnTo>
                        <a:pt x="3081336" y="3292775"/>
                      </a:lnTo>
                      <a:lnTo>
                        <a:pt x="2945243" y="3504319"/>
                      </a:lnTo>
                      <a:lnTo>
                        <a:pt x="2942479" y="3532066"/>
                      </a:lnTo>
                      <a:lnTo>
                        <a:pt x="2947383" y="3548959"/>
                      </a:lnTo>
                      <a:lnTo>
                        <a:pt x="2954455" y="3565843"/>
                      </a:lnTo>
                      <a:lnTo>
                        <a:pt x="2958201" y="3592658"/>
                      </a:lnTo>
                      <a:lnTo>
                        <a:pt x="2960671" y="3656482"/>
                      </a:lnTo>
                      <a:lnTo>
                        <a:pt x="2959617" y="3663355"/>
                      </a:lnTo>
                      <a:lnTo>
                        <a:pt x="2956224" y="3685450"/>
                      </a:lnTo>
                      <a:lnTo>
                        <a:pt x="2931868" y="3690930"/>
                      </a:lnTo>
                      <a:lnTo>
                        <a:pt x="2831046" y="3671030"/>
                      </a:lnTo>
                      <a:lnTo>
                        <a:pt x="2812528" y="3667370"/>
                      </a:lnTo>
                      <a:lnTo>
                        <a:pt x="2792583" y="3647099"/>
                      </a:lnTo>
                      <a:lnTo>
                        <a:pt x="2783448" y="3637806"/>
                      </a:lnTo>
                      <a:lnTo>
                        <a:pt x="2761805" y="3592673"/>
                      </a:lnTo>
                      <a:lnTo>
                        <a:pt x="2723460" y="3529866"/>
                      </a:lnTo>
                      <a:lnTo>
                        <a:pt x="2640477" y="3448671"/>
                      </a:lnTo>
                      <a:lnTo>
                        <a:pt x="2551573" y="3380052"/>
                      </a:lnTo>
                      <a:lnTo>
                        <a:pt x="2520195" y="3362893"/>
                      </a:lnTo>
                      <a:lnTo>
                        <a:pt x="2504520" y="3358538"/>
                      </a:lnTo>
                      <a:lnTo>
                        <a:pt x="2486446" y="3358089"/>
                      </a:lnTo>
                      <a:lnTo>
                        <a:pt x="2430373" y="3394398"/>
                      </a:lnTo>
                      <a:lnTo>
                        <a:pt x="2352459" y="3471610"/>
                      </a:lnTo>
                      <a:lnTo>
                        <a:pt x="2325201" y="3498595"/>
                      </a:lnTo>
                      <a:lnTo>
                        <a:pt x="2266153" y="3528439"/>
                      </a:lnTo>
                      <a:lnTo>
                        <a:pt x="2199033" y="3551466"/>
                      </a:lnTo>
                      <a:lnTo>
                        <a:pt x="2033387" y="3608166"/>
                      </a:lnTo>
                      <a:lnTo>
                        <a:pt x="1814726" y="3682747"/>
                      </a:lnTo>
                      <a:lnTo>
                        <a:pt x="1754819" y="3717000"/>
                      </a:lnTo>
                      <a:lnTo>
                        <a:pt x="1709105" y="3772641"/>
                      </a:lnTo>
                      <a:lnTo>
                        <a:pt x="1685563" y="3840423"/>
                      </a:lnTo>
                      <a:lnTo>
                        <a:pt x="1656534" y="3995523"/>
                      </a:lnTo>
                      <a:lnTo>
                        <a:pt x="1653503" y="4067000"/>
                      </a:lnTo>
                      <a:lnTo>
                        <a:pt x="1675863" y="4162822"/>
                      </a:lnTo>
                      <a:lnTo>
                        <a:pt x="1682797" y="4192524"/>
                      </a:lnTo>
                      <a:lnTo>
                        <a:pt x="1674793" y="4257617"/>
                      </a:lnTo>
                      <a:lnTo>
                        <a:pt x="1673470" y="4268384"/>
                      </a:lnTo>
                      <a:lnTo>
                        <a:pt x="1648667" y="4327371"/>
                      </a:lnTo>
                      <a:lnTo>
                        <a:pt x="1609542" y="4394706"/>
                      </a:lnTo>
                      <a:lnTo>
                        <a:pt x="1588592" y="4418133"/>
                      </a:lnTo>
                      <a:lnTo>
                        <a:pt x="1561697" y="4448195"/>
                      </a:lnTo>
                      <a:lnTo>
                        <a:pt x="1511252" y="4465637"/>
                      </a:lnTo>
                      <a:lnTo>
                        <a:pt x="1488762" y="4448903"/>
                      </a:lnTo>
                      <a:lnTo>
                        <a:pt x="1444356" y="4385917"/>
                      </a:lnTo>
                      <a:lnTo>
                        <a:pt x="1422354" y="4372117"/>
                      </a:lnTo>
                      <a:lnTo>
                        <a:pt x="1407308" y="4382397"/>
                      </a:lnTo>
                      <a:lnTo>
                        <a:pt x="1381720" y="4430051"/>
                      </a:lnTo>
                      <a:lnTo>
                        <a:pt x="1364230" y="4444713"/>
                      </a:lnTo>
                      <a:lnTo>
                        <a:pt x="1325937" y="4446612"/>
                      </a:lnTo>
                      <a:lnTo>
                        <a:pt x="1297642" y="4431228"/>
                      </a:lnTo>
                      <a:lnTo>
                        <a:pt x="1243599" y="4372965"/>
                      </a:lnTo>
                      <a:lnTo>
                        <a:pt x="1245141" y="4349872"/>
                      </a:lnTo>
                      <a:lnTo>
                        <a:pt x="1233423" y="4311035"/>
                      </a:lnTo>
                      <a:lnTo>
                        <a:pt x="1233030" y="4288186"/>
                      </a:lnTo>
                      <a:lnTo>
                        <a:pt x="1244316" y="4250256"/>
                      </a:lnTo>
                      <a:lnTo>
                        <a:pt x="1258664" y="4232987"/>
                      </a:lnTo>
                      <a:lnTo>
                        <a:pt x="1275654" y="4220289"/>
                      </a:lnTo>
                      <a:lnTo>
                        <a:pt x="1294865" y="4195629"/>
                      </a:lnTo>
                      <a:lnTo>
                        <a:pt x="1319750" y="4138150"/>
                      </a:lnTo>
                      <a:lnTo>
                        <a:pt x="1319891" y="4098219"/>
                      </a:lnTo>
                      <a:lnTo>
                        <a:pt x="1308428" y="4056794"/>
                      </a:lnTo>
                      <a:lnTo>
                        <a:pt x="1297769" y="3994049"/>
                      </a:lnTo>
                      <a:lnTo>
                        <a:pt x="1225047" y="3800320"/>
                      </a:lnTo>
                      <a:lnTo>
                        <a:pt x="1211036" y="3741471"/>
                      </a:lnTo>
                      <a:lnTo>
                        <a:pt x="1210964" y="3640705"/>
                      </a:lnTo>
                      <a:lnTo>
                        <a:pt x="1205157" y="3585057"/>
                      </a:lnTo>
                      <a:lnTo>
                        <a:pt x="1180423" y="3501116"/>
                      </a:lnTo>
                      <a:lnTo>
                        <a:pt x="1093059" y="3308402"/>
                      </a:lnTo>
                      <a:lnTo>
                        <a:pt x="1048786" y="3246875"/>
                      </a:lnTo>
                      <a:lnTo>
                        <a:pt x="1030224" y="3226588"/>
                      </a:lnTo>
                      <a:lnTo>
                        <a:pt x="991550" y="3184298"/>
                      </a:lnTo>
                      <a:lnTo>
                        <a:pt x="704994" y="2970508"/>
                      </a:lnTo>
                      <a:lnTo>
                        <a:pt x="669198" y="2964167"/>
                      </a:lnTo>
                      <a:lnTo>
                        <a:pt x="510198" y="2966832"/>
                      </a:lnTo>
                      <a:lnTo>
                        <a:pt x="482574" y="2962477"/>
                      </a:lnTo>
                      <a:lnTo>
                        <a:pt x="463742" y="2940934"/>
                      </a:lnTo>
                      <a:lnTo>
                        <a:pt x="443951" y="2889221"/>
                      </a:lnTo>
                      <a:lnTo>
                        <a:pt x="440767" y="2866828"/>
                      </a:lnTo>
                      <a:lnTo>
                        <a:pt x="445192" y="2824337"/>
                      </a:lnTo>
                      <a:lnTo>
                        <a:pt x="439856" y="2799981"/>
                      </a:lnTo>
                      <a:lnTo>
                        <a:pt x="426555" y="2780760"/>
                      </a:lnTo>
                      <a:lnTo>
                        <a:pt x="390532" y="2749237"/>
                      </a:lnTo>
                      <a:lnTo>
                        <a:pt x="379881" y="2729470"/>
                      </a:lnTo>
                      <a:lnTo>
                        <a:pt x="382935" y="2709324"/>
                      </a:lnTo>
                      <a:lnTo>
                        <a:pt x="407253" y="2672605"/>
                      </a:lnTo>
                      <a:lnTo>
                        <a:pt x="408188" y="2646595"/>
                      </a:lnTo>
                      <a:lnTo>
                        <a:pt x="396862" y="2622261"/>
                      </a:lnTo>
                      <a:lnTo>
                        <a:pt x="365907" y="2591675"/>
                      </a:lnTo>
                      <a:lnTo>
                        <a:pt x="353334" y="2573751"/>
                      </a:lnTo>
                      <a:lnTo>
                        <a:pt x="289438" y="2414870"/>
                      </a:lnTo>
                      <a:lnTo>
                        <a:pt x="289439" y="2414786"/>
                      </a:lnTo>
                      <a:lnTo>
                        <a:pt x="289205" y="2414208"/>
                      </a:lnTo>
                      <a:lnTo>
                        <a:pt x="289208" y="2413883"/>
                      </a:lnTo>
                      <a:lnTo>
                        <a:pt x="288725" y="2413879"/>
                      </a:lnTo>
                      <a:lnTo>
                        <a:pt x="250085" y="2363444"/>
                      </a:lnTo>
                      <a:lnTo>
                        <a:pt x="134892" y="2298209"/>
                      </a:lnTo>
                      <a:lnTo>
                        <a:pt x="87469" y="2245051"/>
                      </a:lnTo>
                      <a:lnTo>
                        <a:pt x="115908" y="2203930"/>
                      </a:lnTo>
                      <a:lnTo>
                        <a:pt x="118939" y="2163053"/>
                      </a:lnTo>
                      <a:lnTo>
                        <a:pt x="112902" y="2118750"/>
                      </a:lnTo>
                      <a:lnTo>
                        <a:pt x="114116" y="2068022"/>
                      </a:lnTo>
                      <a:lnTo>
                        <a:pt x="122503" y="2042397"/>
                      </a:lnTo>
                      <a:lnTo>
                        <a:pt x="149321" y="1991999"/>
                      </a:lnTo>
                      <a:lnTo>
                        <a:pt x="180954" y="1911218"/>
                      </a:lnTo>
                      <a:lnTo>
                        <a:pt x="176513" y="1899950"/>
                      </a:lnTo>
                      <a:lnTo>
                        <a:pt x="158881" y="1867329"/>
                      </a:lnTo>
                      <a:lnTo>
                        <a:pt x="27817" y="1738949"/>
                      </a:lnTo>
                      <a:lnTo>
                        <a:pt x="25786" y="1736960"/>
                      </a:lnTo>
                      <a:lnTo>
                        <a:pt x="0" y="1688140"/>
                      </a:lnTo>
                      <a:lnTo>
                        <a:pt x="4704" y="1625898"/>
                      </a:lnTo>
                      <a:lnTo>
                        <a:pt x="23840" y="1600232"/>
                      </a:lnTo>
                      <a:lnTo>
                        <a:pt x="72681" y="1561558"/>
                      </a:lnTo>
                      <a:lnTo>
                        <a:pt x="94620" y="1544174"/>
                      </a:lnTo>
                      <a:lnTo>
                        <a:pt x="120766" y="1531907"/>
                      </a:lnTo>
                      <a:lnTo>
                        <a:pt x="203175" y="1554410"/>
                      </a:lnTo>
                      <a:lnTo>
                        <a:pt x="289148" y="1607635"/>
                      </a:lnTo>
                      <a:lnTo>
                        <a:pt x="367293" y="1631495"/>
                      </a:lnTo>
                      <a:lnTo>
                        <a:pt x="425640" y="1566593"/>
                      </a:lnTo>
                      <a:lnTo>
                        <a:pt x="429467" y="1536128"/>
                      </a:lnTo>
                      <a:lnTo>
                        <a:pt x="426123" y="1507393"/>
                      </a:lnTo>
                      <a:lnTo>
                        <a:pt x="428278" y="1477155"/>
                      </a:lnTo>
                      <a:lnTo>
                        <a:pt x="447892" y="1442591"/>
                      </a:lnTo>
                      <a:lnTo>
                        <a:pt x="467565" y="1430070"/>
                      </a:lnTo>
                      <a:lnTo>
                        <a:pt x="556345" y="1397738"/>
                      </a:lnTo>
                      <a:lnTo>
                        <a:pt x="743373" y="1367006"/>
                      </a:lnTo>
                      <a:lnTo>
                        <a:pt x="934448" y="1326609"/>
                      </a:lnTo>
                      <a:lnTo>
                        <a:pt x="1046065" y="1280351"/>
                      </a:lnTo>
                      <a:lnTo>
                        <a:pt x="1098382" y="1210262"/>
                      </a:lnTo>
                      <a:lnTo>
                        <a:pt x="1088229" y="1180030"/>
                      </a:lnTo>
                      <a:lnTo>
                        <a:pt x="1075825" y="1143064"/>
                      </a:lnTo>
                      <a:lnTo>
                        <a:pt x="1024761" y="1110370"/>
                      </a:lnTo>
                      <a:lnTo>
                        <a:pt x="988760" y="1070743"/>
                      </a:lnTo>
                      <a:lnTo>
                        <a:pt x="1008749" y="982771"/>
                      </a:lnTo>
                      <a:lnTo>
                        <a:pt x="1048055" y="931502"/>
                      </a:lnTo>
                      <a:lnTo>
                        <a:pt x="1087383" y="919652"/>
                      </a:lnTo>
                      <a:lnTo>
                        <a:pt x="1128083" y="919843"/>
                      </a:lnTo>
                      <a:lnTo>
                        <a:pt x="1172659" y="904434"/>
                      </a:lnTo>
                      <a:lnTo>
                        <a:pt x="1191061" y="887189"/>
                      </a:lnTo>
                      <a:lnTo>
                        <a:pt x="1203761" y="866508"/>
                      </a:lnTo>
                      <a:lnTo>
                        <a:pt x="1225850" y="818288"/>
                      </a:lnTo>
                      <a:lnTo>
                        <a:pt x="1246631" y="796665"/>
                      </a:lnTo>
                      <a:lnTo>
                        <a:pt x="1270653" y="797251"/>
                      </a:lnTo>
                      <a:lnTo>
                        <a:pt x="1297024" y="804987"/>
                      </a:lnTo>
                      <a:lnTo>
                        <a:pt x="1324858" y="804524"/>
                      </a:lnTo>
                      <a:lnTo>
                        <a:pt x="1373066" y="757363"/>
                      </a:lnTo>
                      <a:lnTo>
                        <a:pt x="1434471" y="662736"/>
                      </a:lnTo>
                      <a:lnTo>
                        <a:pt x="1483249" y="558546"/>
                      </a:lnTo>
                      <a:lnTo>
                        <a:pt x="1493201" y="481808"/>
                      </a:lnTo>
                      <a:lnTo>
                        <a:pt x="1476392" y="462409"/>
                      </a:lnTo>
                      <a:lnTo>
                        <a:pt x="1453126" y="461201"/>
                      </a:lnTo>
                      <a:lnTo>
                        <a:pt x="1428424" y="464381"/>
                      </a:lnTo>
                      <a:lnTo>
                        <a:pt x="1408024" y="458051"/>
                      </a:lnTo>
                      <a:lnTo>
                        <a:pt x="1394317" y="437681"/>
                      </a:lnTo>
                      <a:lnTo>
                        <a:pt x="1381834" y="407386"/>
                      </a:lnTo>
                      <a:lnTo>
                        <a:pt x="1362602" y="339345"/>
                      </a:lnTo>
                      <a:lnTo>
                        <a:pt x="1335286" y="279809"/>
                      </a:lnTo>
                      <a:lnTo>
                        <a:pt x="1329479" y="244731"/>
                      </a:lnTo>
                      <a:lnTo>
                        <a:pt x="1344566" y="203881"/>
                      </a:lnTo>
                      <a:lnTo>
                        <a:pt x="1363583" y="190368"/>
                      </a:lnTo>
                      <a:lnTo>
                        <a:pt x="1438284" y="187353"/>
                      </a:lnTo>
                      <a:lnTo>
                        <a:pt x="1489081" y="167498"/>
                      </a:lnTo>
                      <a:lnTo>
                        <a:pt x="1669037" y="31943"/>
                      </a:lnTo>
                      <a:lnTo>
                        <a:pt x="1724516" y="6908"/>
                      </a:lnTo>
                      <a:lnTo>
                        <a:pt x="1781614" y="0"/>
                      </a:lnTo>
                      <a:lnTo>
                        <a:pt x="1816662" y="10929"/>
                      </a:lnTo>
                      <a:lnTo>
                        <a:pt x="1838921" y="17867"/>
                      </a:lnTo>
                      <a:lnTo>
                        <a:pt x="1882487" y="54256"/>
                      </a:lnTo>
                      <a:lnTo>
                        <a:pt x="1905456" y="78582"/>
                      </a:lnTo>
                      <a:lnTo>
                        <a:pt x="1920611" y="9964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12700" cap="rnd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Freeform 10"/>
                <p:cNvSpPr>
                  <a:spLocks/>
                </p:cNvSpPr>
                <p:nvPr/>
              </p:nvSpPr>
              <p:spPr bwMode="gray">
                <a:xfrm>
                  <a:off x="4718705" y="3530838"/>
                  <a:ext cx="284874" cy="343560"/>
                </a:xfrm>
                <a:custGeom>
                  <a:avLst/>
                  <a:gdLst>
                    <a:gd name="T0" fmla="*/ 574 w 223"/>
                    <a:gd name="T1" fmla="*/ 43 h 272"/>
                    <a:gd name="T2" fmla="*/ 553 w 223"/>
                    <a:gd name="T3" fmla="*/ 139 h 272"/>
                    <a:gd name="T4" fmla="*/ 669 w 223"/>
                    <a:gd name="T5" fmla="*/ 211 h 272"/>
                    <a:gd name="T6" fmla="*/ 790 w 223"/>
                    <a:gd name="T7" fmla="*/ 300 h 272"/>
                    <a:gd name="T8" fmla="*/ 924 w 223"/>
                    <a:gd name="T9" fmla="*/ 404 h 272"/>
                    <a:gd name="T10" fmla="*/ 959 w 223"/>
                    <a:gd name="T11" fmla="*/ 414 h 272"/>
                    <a:gd name="T12" fmla="*/ 1073 w 223"/>
                    <a:gd name="T13" fmla="*/ 468 h 272"/>
                    <a:gd name="T14" fmla="*/ 1176 w 223"/>
                    <a:gd name="T15" fmla="*/ 526 h 272"/>
                    <a:gd name="T16" fmla="*/ 1287 w 223"/>
                    <a:gd name="T17" fmla="*/ 548 h 272"/>
                    <a:gd name="T18" fmla="*/ 1354 w 223"/>
                    <a:gd name="T19" fmla="*/ 616 h 272"/>
                    <a:gd name="T20" fmla="*/ 1285 w 223"/>
                    <a:gd name="T21" fmla="*/ 643 h 272"/>
                    <a:gd name="T22" fmla="*/ 1221 w 223"/>
                    <a:gd name="T23" fmla="*/ 729 h 272"/>
                    <a:gd name="T24" fmla="*/ 1111 w 223"/>
                    <a:gd name="T25" fmla="*/ 643 h 272"/>
                    <a:gd name="T26" fmla="*/ 1085 w 223"/>
                    <a:gd name="T27" fmla="*/ 656 h 272"/>
                    <a:gd name="T28" fmla="*/ 1085 w 223"/>
                    <a:gd name="T29" fmla="*/ 729 h 272"/>
                    <a:gd name="T30" fmla="*/ 1096 w 223"/>
                    <a:gd name="T31" fmla="*/ 887 h 272"/>
                    <a:gd name="T32" fmla="*/ 1073 w 223"/>
                    <a:gd name="T33" fmla="*/ 883 h 272"/>
                    <a:gd name="T34" fmla="*/ 981 w 223"/>
                    <a:gd name="T35" fmla="*/ 820 h 272"/>
                    <a:gd name="T36" fmla="*/ 896 w 223"/>
                    <a:gd name="T37" fmla="*/ 922 h 272"/>
                    <a:gd name="T38" fmla="*/ 799 w 223"/>
                    <a:gd name="T39" fmla="*/ 992 h 272"/>
                    <a:gd name="T40" fmla="*/ 764 w 223"/>
                    <a:gd name="T41" fmla="*/ 1166 h 272"/>
                    <a:gd name="T42" fmla="*/ 799 w 223"/>
                    <a:gd name="T43" fmla="*/ 1292 h 272"/>
                    <a:gd name="T44" fmla="*/ 740 w 223"/>
                    <a:gd name="T45" fmla="*/ 1470 h 272"/>
                    <a:gd name="T46" fmla="*/ 669 w 223"/>
                    <a:gd name="T47" fmla="*/ 1432 h 272"/>
                    <a:gd name="T48" fmla="*/ 574 w 223"/>
                    <a:gd name="T49" fmla="*/ 1282 h 272"/>
                    <a:gd name="T50" fmla="*/ 462 w 223"/>
                    <a:gd name="T51" fmla="*/ 1217 h 272"/>
                    <a:gd name="T52" fmla="*/ 310 w 223"/>
                    <a:gd name="T53" fmla="*/ 1091 h 272"/>
                    <a:gd name="T54" fmla="*/ 220 w 223"/>
                    <a:gd name="T55" fmla="*/ 1062 h 272"/>
                    <a:gd name="T56" fmla="*/ 159 w 223"/>
                    <a:gd name="T57" fmla="*/ 1022 h 272"/>
                    <a:gd name="T58" fmla="*/ 60 w 223"/>
                    <a:gd name="T59" fmla="*/ 960 h 272"/>
                    <a:gd name="T60" fmla="*/ 0 w 223"/>
                    <a:gd name="T61" fmla="*/ 939 h 272"/>
                    <a:gd name="T62" fmla="*/ 35 w 223"/>
                    <a:gd name="T63" fmla="*/ 863 h 272"/>
                    <a:gd name="T64" fmla="*/ 60 w 223"/>
                    <a:gd name="T65" fmla="*/ 837 h 272"/>
                    <a:gd name="T66" fmla="*/ 123 w 223"/>
                    <a:gd name="T67" fmla="*/ 820 h 272"/>
                    <a:gd name="T68" fmla="*/ 108 w 223"/>
                    <a:gd name="T69" fmla="*/ 777 h 272"/>
                    <a:gd name="T70" fmla="*/ 24 w 223"/>
                    <a:gd name="T71" fmla="*/ 656 h 272"/>
                    <a:gd name="T72" fmla="*/ 60 w 223"/>
                    <a:gd name="T73" fmla="*/ 580 h 272"/>
                    <a:gd name="T74" fmla="*/ 35 w 223"/>
                    <a:gd name="T75" fmla="*/ 502 h 272"/>
                    <a:gd name="T76" fmla="*/ 123 w 223"/>
                    <a:gd name="T77" fmla="*/ 466 h 272"/>
                    <a:gd name="T78" fmla="*/ 159 w 223"/>
                    <a:gd name="T79" fmla="*/ 466 h 272"/>
                    <a:gd name="T80" fmla="*/ 272 w 223"/>
                    <a:gd name="T81" fmla="*/ 391 h 272"/>
                    <a:gd name="T82" fmla="*/ 220 w 223"/>
                    <a:gd name="T83" fmla="*/ 298 h 272"/>
                    <a:gd name="T84" fmla="*/ 146 w 223"/>
                    <a:gd name="T85" fmla="*/ 153 h 272"/>
                    <a:gd name="T86" fmla="*/ 146 w 223"/>
                    <a:gd name="T87" fmla="*/ 64 h 272"/>
                    <a:gd name="T88" fmla="*/ 220 w 223"/>
                    <a:gd name="T89" fmla="*/ 64 h 272"/>
                    <a:gd name="T90" fmla="*/ 301 w 223"/>
                    <a:gd name="T91" fmla="*/ 153 h 272"/>
                    <a:gd name="T92" fmla="*/ 467 w 223"/>
                    <a:gd name="T93" fmla="*/ 244 h 272"/>
                    <a:gd name="T94" fmla="*/ 496 w 223"/>
                    <a:gd name="T95" fmla="*/ 200 h 272"/>
                    <a:gd name="T96" fmla="*/ 400 w 223"/>
                    <a:gd name="T97" fmla="*/ 54 h 272"/>
                    <a:gd name="T98" fmla="*/ 467 w 223"/>
                    <a:gd name="T99" fmla="*/ 30 h 272"/>
                    <a:gd name="T100" fmla="*/ 532 w 223"/>
                    <a:gd name="T101" fmla="*/ 0 h 272"/>
                    <a:gd name="T102" fmla="*/ 574 w 223"/>
                    <a:gd name="T103" fmla="*/ 43 h 27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223" h="272">
                      <a:moveTo>
                        <a:pt x="95" y="8"/>
                      </a:moveTo>
                      <a:lnTo>
                        <a:pt x="91" y="25"/>
                      </a:lnTo>
                      <a:lnTo>
                        <a:pt x="111" y="39"/>
                      </a:lnTo>
                      <a:lnTo>
                        <a:pt x="130" y="56"/>
                      </a:lnTo>
                      <a:lnTo>
                        <a:pt x="153" y="74"/>
                      </a:lnTo>
                      <a:lnTo>
                        <a:pt x="159" y="76"/>
                      </a:lnTo>
                      <a:lnTo>
                        <a:pt x="177" y="87"/>
                      </a:lnTo>
                      <a:lnTo>
                        <a:pt x="194" y="97"/>
                      </a:lnTo>
                      <a:lnTo>
                        <a:pt x="213" y="101"/>
                      </a:lnTo>
                      <a:lnTo>
                        <a:pt x="223" y="113"/>
                      </a:lnTo>
                      <a:lnTo>
                        <a:pt x="212" y="119"/>
                      </a:lnTo>
                      <a:lnTo>
                        <a:pt x="202" y="134"/>
                      </a:lnTo>
                      <a:lnTo>
                        <a:pt x="184" y="119"/>
                      </a:lnTo>
                      <a:lnTo>
                        <a:pt x="179" y="122"/>
                      </a:lnTo>
                      <a:lnTo>
                        <a:pt x="179" y="134"/>
                      </a:lnTo>
                      <a:lnTo>
                        <a:pt x="181" y="165"/>
                      </a:lnTo>
                      <a:lnTo>
                        <a:pt x="177" y="163"/>
                      </a:lnTo>
                      <a:lnTo>
                        <a:pt x="161" y="151"/>
                      </a:lnTo>
                      <a:lnTo>
                        <a:pt x="148" y="171"/>
                      </a:lnTo>
                      <a:lnTo>
                        <a:pt x="132" y="184"/>
                      </a:lnTo>
                      <a:lnTo>
                        <a:pt x="126" y="215"/>
                      </a:lnTo>
                      <a:lnTo>
                        <a:pt x="132" y="239"/>
                      </a:lnTo>
                      <a:lnTo>
                        <a:pt x="122" y="272"/>
                      </a:lnTo>
                      <a:lnTo>
                        <a:pt x="111" y="264"/>
                      </a:lnTo>
                      <a:lnTo>
                        <a:pt x="95" y="237"/>
                      </a:lnTo>
                      <a:lnTo>
                        <a:pt x="76" y="225"/>
                      </a:lnTo>
                      <a:lnTo>
                        <a:pt x="51" y="202"/>
                      </a:lnTo>
                      <a:lnTo>
                        <a:pt x="37" y="196"/>
                      </a:lnTo>
                      <a:lnTo>
                        <a:pt x="27" y="188"/>
                      </a:lnTo>
                      <a:lnTo>
                        <a:pt x="10" y="177"/>
                      </a:lnTo>
                      <a:lnTo>
                        <a:pt x="0" y="173"/>
                      </a:lnTo>
                      <a:lnTo>
                        <a:pt x="6" y="159"/>
                      </a:lnTo>
                      <a:lnTo>
                        <a:pt x="10" y="155"/>
                      </a:lnTo>
                      <a:lnTo>
                        <a:pt x="20" y="151"/>
                      </a:lnTo>
                      <a:lnTo>
                        <a:pt x="18" y="144"/>
                      </a:lnTo>
                      <a:lnTo>
                        <a:pt x="4" y="122"/>
                      </a:lnTo>
                      <a:lnTo>
                        <a:pt x="10" y="107"/>
                      </a:lnTo>
                      <a:lnTo>
                        <a:pt x="6" y="93"/>
                      </a:lnTo>
                      <a:lnTo>
                        <a:pt x="20" y="86"/>
                      </a:lnTo>
                      <a:lnTo>
                        <a:pt x="27" y="86"/>
                      </a:lnTo>
                      <a:lnTo>
                        <a:pt x="45" y="72"/>
                      </a:lnTo>
                      <a:lnTo>
                        <a:pt x="37" y="55"/>
                      </a:lnTo>
                      <a:lnTo>
                        <a:pt x="23" y="29"/>
                      </a:lnTo>
                      <a:lnTo>
                        <a:pt x="23" y="12"/>
                      </a:lnTo>
                      <a:lnTo>
                        <a:pt x="37" y="12"/>
                      </a:lnTo>
                      <a:lnTo>
                        <a:pt x="49" y="29"/>
                      </a:lnTo>
                      <a:lnTo>
                        <a:pt x="78" y="45"/>
                      </a:lnTo>
                      <a:lnTo>
                        <a:pt x="82" y="37"/>
                      </a:lnTo>
                      <a:lnTo>
                        <a:pt x="66" y="10"/>
                      </a:lnTo>
                      <a:lnTo>
                        <a:pt x="78" y="6"/>
                      </a:lnTo>
                      <a:lnTo>
                        <a:pt x="87" y="0"/>
                      </a:lnTo>
                      <a:lnTo>
                        <a:pt x="95" y="8"/>
                      </a:lnTo>
                      <a:close/>
                    </a:path>
                  </a:pathLst>
                </a:custGeom>
                <a:solidFill>
                  <a:srgbClr val="F5E209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6" name="Freeform 6"/>
                <p:cNvSpPr>
                  <a:spLocks/>
                </p:cNvSpPr>
                <p:nvPr/>
              </p:nvSpPr>
              <p:spPr bwMode="gray">
                <a:xfrm>
                  <a:off x="4876613" y="3721824"/>
                  <a:ext cx="282740" cy="580424"/>
                </a:xfrm>
                <a:custGeom>
                  <a:avLst/>
                  <a:gdLst>
                    <a:gd name="T0" fmla="*/ 1315 w 221"/>
                    <a:gd name="T1" fmla="*/ 1529 h 456"/>
                    <a:gd name="T2" fmla="*/ 1341 w 221"/>
                    <a:gd name="T3" fmla="*/ 1657 h 456"/>
                    <a:gd name="T4" fmla="*/ 1359 w 221"/>
                    <a:gd name="T5" fmla="*/ 1841 h 456"/>
                    <a:gd name="T6" fmla="*/ 1205 w 221"/>
                    <a:gd name="T7" fmla="*/ 1998 h 456"/>
                    <a:gd name="T8" fmla="*/ 1103 w 221"/>
                    <a:gd name="T9" fmla="*/ 2227 h 456"/>
                    <a:gd name="T10" fmla="*/ 982 w 221"/>
                    <a:gd name="T11" fmla="*/ 2325 h 456"/>
                    <a:gd name="T12" fmla="*/ 948 w 221"/>
                    <a:gd name="T13" fmla="*/ 2480 h 456"/>
                    <a:gd name="T14" fmla="*/ 897 w 221"/>
                    <a:gd name="T15" fmla="*/ 2567 h 456"/>
                    <a:gd name="T16" fmla="*/ 772 w 221"/>
                    <a:gd name="T17" fmla="*/ 2658 h 456"/>
                    <a:gd name="T18" fmla="*/ 767 w 221"/>
                    <a:gd name="T19" fmla="*/ 2656 h 456"/>
                    <a:gd name="T20" fmla="*/ 640 w 221"/>
                    <a:gd name="T21" fmla="*/ 2610 h 456"/>
                    <a:gd name="T22" fmla="*/ 609 w 221"/>
                    <a:gd name="T23" fmla="*/ 2469 h 456"/>
                    <a:gd name="T24" fmla="*/ 501 w 221"/>
                    <a:gd name="T25" fmla="*/ 2359 h 456"/>
                    <a:gd name="T26" fmla="*/ 263 w 221"/>
                    <a:gd name="T27" fmla="*/ 2291 h 456"/>
                    <a:gd name="T28" fmla="*/ 124 w 221"/>
                    <a:gd name="T29" fmla="*/ 2107 h 456"/>
                    <a:gd name="T30" fmla="*/ 60 w 221"/>
                    <a:gd name="T31" fmla="*/ 1998 h 456"/>
                    <a:gd name="T32" fmla="*/ 158 w 221"/>
                    <a:gd name="T33" fmla="*/ 2005 h 456"/>
                    <a:gd name="T34" fmla="*/ 149 w 221"/>
                    <a:gd name="T35" fmla="*/ 1908 h 456"/>
                    <a:gd name="T36" fmla="*/ 86 w 221"/>
                    <a:gd name="T37" fmla="*/ 1731 h 456"/>
                    <a:gd name="T38" fmla="*/ 132 w 221"/>
                    <a:gd name="T39" fmla="*/ 1574 h 456"/>
                    <a:gd name="T40" fmla="*/ 149 w 221"/>
                    <a:gd name="T41" fmla="*/ 1529 h 456"/>
                    <a:gd name="T42" fmla="*/ 132 w 221"/>
                    <a:gd name="T43" fmla="*/ 1409 h 456"/>
                    <a:gd name="T44" fmla="*/ 149 w 221"/>
                    <a:gd name="T45" fmla="*/ 1313 h 456"/>
                    <a:gd name="T46" fmla="*/ 86 w 221"/>
                    <a:gd name="T47" fmla="*/ 1168 h 456"/>
                    <a:gd name="T48" fmla="*/ 102 w 221"/>
                    <a:gd name="T49" fmla="*/ 1101 h 456"/>
                    <a:gd name="T50" fmla="*/ 132 w 221"/>
                    <a:gd name="T51" fmla="*/ 962 h 456"/>
                    <a:gd name="T52" fmla="*/ 179 w 221"/>
                    <a:gd name="T53" fmla="*/ 784 h 456"/>
                    <a:gd name="T54" fmla="*/ 110 w 221"/>
                    <a:gd name="T55" fmla="*/ 716 h 456"/>
                    <a:gd name="T56" fmla="*/ 0 w 221"/>
                    <a:gd name="T57" fmla="*/ 705 h 456"/>
                    <a:gd name="T58" fmla="*/ 60 w 221"/>
                    <a:gd name="T59" fmla="*/ 512 h 456"/>
                    <a:gd name="T60" fmla="*/ 24 w 221"/>
                    <a:gd name="T61" fmla="*/ 376 h 456"/>
                    <a:gd name="T62" fmla="*/ 60 w 221"/>
                    <a:gd name="T63" fmla="*/ 192 h 456"/>
                    <a:gd name="T64" fmla="*/ 158 w 221"/>
                    <a:gd name="T65" fmla="*/ 123 h 456"/>
                    <a:gd name="T66" fmla="*/ 237 w 221"/>
                    <a:gd name="T67" fmla="*/ 0 h 456"/>
                    <a:gd name="T68" fmla="*/ 339 w 221"/>
                    <a:gd name="T69" fmla="*/ 72 h 456"/>
                    <a:gd name="T70" fmla="*/ 362 w 221"/>
                    <a:gd name="T71" fmla="*/ 86 h 456"/>
                    <a:gd name="T72" fmla="*/ 534 w 221"/>
                    <a:gd name="T73" fmla="*/ 86 h 456"/>
                    <a:gd name="T74" fmla="*/ 622 w 221"/>
                    <a:gd name="T75" fmla="*/ 212 h 456"/>
                    <a:gd name="T76" fmla="*/ 751 w 221"/>
                    <a:gd name="T77" fmla="*/ 264 h 456"/>
                    <a:gd name="T78" fmla="*/ 925 w 221"/>
                    <a:gd name="T79" fmla="*/ 449 h 456"/>
                    <a:gd name="T80" fmla="*/ 908 w 221"/>
                    <a:gd name="T81" fmla="*/ 577 h 456"/>
                    <a:gd name="T82" fmla="*/ 908 w 221"/>
                    <a:gd name="T83" fmla="*/ 666 h 456"/>
                    <a:gd name="T84" fmla="*/ 897 w 221"/>
                    <a:gd name="T85" fmla="*/ 901 h 456"/>
                    <a:gd name="T86" fmla="*/ 925 w 221"/>
                    <a:gd name="T87" fmla="*/ 1101 h 456"/>
                    <a:gd name="T88" fmla="*/ 1049 w 221"/>
                    <a:gd name="T89" fmla="*/ 1340 h 456"/>
                    <a:gd name="T90" fmla="*/ 1194 w 221"/>
                    <a:gd name="T91" fmla="*/ 1466 h 456"/>
                    <a:gd name="T92" fmla="*/ 1315 w 221"/>
                    <a:gd name="T93" fmla="*/ 1529 h 45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221" h="456">
                      <a:moveTo>
                        <a:pt x="214" y="262"/>
                      </a:moveTo>
                      <a:lnTo>
                        <a:pt x="218" y="284"/>
                      </a:lnTo>
                      <a:lnTo>
                        <a:pt x="221" y="315"/>
                      </a:lnTo>
                      <a:lnTo>
                        <a:pt x="196" y="342"/>
                      </a:lnTo>
                      <a:lnTo>
                        <a:pt x="179" y="381"/>
                      </a:lnTo>
                      <a:lnTo>
                        <a:pt x="159" y="398"/>
                      </a:lnTo>
                      <a:lnTo>
                        <a:pt x="154" y="425"/>
                      </a:lnTo>
                      <a:lnTo>
                        <a:pt x="146" y="439"/>
                      </a:lnTo>
                      <a:lnTo>
                        <a:pt x="126" y="456"/>
                      </a:lnTo>
                      <a:lnTo>
                        <a:pt x="124" y="454"/>
                      </a:lnTo>
                      <a:lnTo>
                        <a:pt x="103" y="447"/>
                      </a:lnTo>
                      <a:lnTo>
                        <a:pt x="99" y="423"/>
                      </a:lnTo>
                      <a:lnTo>
                        <a:pt x="82" y="404"/>
                      </a:lnTo>
                      <a:lnTo>
                        <a:pt x="43" y="392"/>
                      </a:lnTo>
                      <a:lnTo>
                        <a:pt x="20" y="361"/>
                      </a:lnTo>
                      <a:lnTo>
                        <a:pt x="10" y="342"/>
                      </a:lnTo>
                      <a:lnTo>
                        <a:pt x="26" y="344"/>
                      </a:lnTo>
                      <a:lnTo>
                        <a:pt x="24" y="326"/>
                      </a:lnTo>
                      <a:lnTo>
                        <a:pt x="14" y="297"/>
                      </a:lnTo>
                      <a:lnTo>
                        <a:pt x="22" y="270"/>
                      </a:lnTo>
                      <a:lnTo>
                        <a:pt x="24" y="262"/>
                      </a:lnTo>
                      <a:lnTo>
                        <a:pt x="22" y="241"/>
                      </a:lnTo>
                      <a:lnTo>
                        <a:pt x="24" y="225"/>
                      </a:lnTo>
                      <a:lnTo>
                        <a:pt x="14" y="200"/>
                      </a:lnTo>
                      <a:lnTo>
                        <a:pt x="16" y="189"/>
                      </a:lnTo>
                      <a:lnTo>
                        <a:pt x="22" y="165"/>
                      </a:lnTo>
                      <a:lnTo>
                        <a:pt x="29" y="134"/>
                      </a:lnTo>
                      <a:lnTo>
                        <a:pt x="18" y="123"/>
                      </a:lnTo>
                      <a:lnTo>
                        <a:pt x="0" y="121"/>
                      </a:lnTo>
                      <a:lnTo>
                        <a:pt x="10" y="88"/>
                      </a:lnTo>
                      <a:lnTo>
                        <a:pt x="4" y="64"/>
                      </a:lnTo>
                      <a:lnTo>
                        <a:pt x="10" y="33"/>
                      </a:lnTo>
                      <a:lnTo>
                        <a:pt x="26" y="20"/>
                      </a:lnTo>
                      <a:lnTo>
                        <a:pt x="39" y="0"/>
                      </a:lnTo>
                      <a:lnTo>
                        <a:pt x="55" y="12"/>
                      </a:lnTo>
                      <a:lnTo>
                        <a:pt x="59" y="14"/>
                      </a:lnTo>
                      <a:lnTo>
                        <a:pt x="86" y="14"/>
                      </a:lnTo>
                      <a:lnTo>
                        <a:pt x="101" y="37"/>
                      </a:lnTo>
                      <a:lnTo>
                        <a:pt x="123" y="45"/>
                      </a:lnTo>
                      <a:lnTo>
                        <a:pt x="150" y="76"/>
                      </a:lnTo>
                      <a:lnTo>
                        <a:pt x="148" y="99"/>
                      </a:lnTo>
                      <a:lnTo>
                        <a:pt x="148" y="115"/>
                      </a:lnTo>
                      <a:lnTo>
                        <a:pt x="146" y="154"/>
                      </a:lnTo>
                      <a:lnTo>
                        <a:pt x="150" y="189"/>
                      </a:lnTo>
                      <a:lnTo>
                        <a:pt x="171" y="229"/>
                      </a:lnTo>
                      <a:lnTo>
                        <a:pt x="194" y="251"/>
                      </a:lnTo>
                      <a:lnTo>
                        <a:pt x="214" y="262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7" name="Freeform 8"/>
                <p:cNvSpPr>
                  <a:spLocks/>
                </p:cNvSpPr>
                <p:nvPr/>
              </p:nvSpPr>
              <p:spPr bwMode="gray">
                <a:xfrm>
                  <a:off x="5061194" y="3728225"/>
                  <a:ext cx="367028" cy="327555"/>
                </a:xfrm>
                <a:custGeom>
                  <a:avLst/>
                  <a:gdLst>
                    <a:gd name="T0" fmla="*/ 1193 w 289"/>
                    <a:gd name="T1" fmla="*/ 50 h 256"/>
                    <a:gd name="T2" fmla="*/ 1206 w 289"/>
                    <a:gd name="T3" fmla="*/ 149 h 256"/>
                    <a:gd name="T4" fmla="*/ 1507 w 289"/>
                    <a:gd name="T5" fmla="*/ 353 h 256"/>
                    <a:gd name="T6" fmla="*/ 1615 w 289"/>
                    <a:gd name="T7" fmla="*/ 734 h 256"/>
                    <a:gd name="T8" fmla="*/ 1647 w 289"/>
                    <a:gd name="T9" fmla="*/ 953 h 256"/>
                    <a:gd name="T10" fmla="*/ 1569 w 289"/>
                    <a:gd name="T11" fmla="*/ 983 h 256"/>
                    <a:gd name="T12" fmla="*/ 1416 w 289"/>
                    <a:gd name="T13" fmla="*/ 1181 h 256"/>
                    <a:gd name="T14" fmla="*/ 1161 w 289"/>
                    <a:gd name="T15" fmla="*/ 1205 h 256"/>
                    <a:gd name="T16" fmla="*/ 956 w 289"/>
                    <a:gd name="T17" fmla="*/ 1330 h 256"/>
                    <a:gd name="T18" fmla="*/ 813 w 289"/>
                    <a:gd name="T19" fmla="*/ 1482 h 256"/>
                    <a:gd name="T20" fmla="*/ 588 w 289"/>
                    <a:gd name="T21" fmla="*/ 1539 h 256"/>
                    <a:gd name="T22" fmla="*/ 427 w 289"/>
                    <a:gd name="T23" fmla="*/ 1547 h 256"/>
                    <a:gd name="T24" fmla="*/ 388 w 289"/>
                    <a:gd name="T25" fmla="*/ 1571 h 256"/>
                    <a:gd name="T26" fmla="*/ 274 w 289"/>
                    <a:gd name="T27" fmla="*/ 1507 h 256"/>
                    <a:gd name="T28" fmla="*/ 148 w 289"/>
                    <a:gd name="T29" fmla="*/ 1371 h 256"/>
                    <a:gd name="T30" fmla="*/ 24 w 289"/>
                    <a:gd name="T31" fmla="*/ 1124 h 256"/>
                    <a:gd name="T32" fmla="*/ 0 w 289"/>
                    <a:gd name="T33" fmla="*/ 908 h 256"/>
                    <a:gd name="T34" fmla="*/ 2 w 289"/>
                    <a:gd name="T35" fmla="*/ 670 h 256"/>
                    <a:gd name="T36" fmla="*/ 2 w 289"/>
                    <a:gd name="T37" fmla="*/ 572 h 256"/>
                    <a:gd name="T38" fmla="*/ 101 w 289"/>
                    <a:gd name="T39" fmla="*/ 519 h 256"/>
                    <a:gd name="T40" fmla="*/ 101 w 289"/>
                    <a:gd name="T41" fmla="*/ 326 h 256"/>
                    <a:gd name="T42" fmla="*/ 299 w 289"/>
                    <a:gd name="T43" fmla="*/ 158 h 256"/>
                    <a:gd name="T44" fmla="*/ 362 w 289"/>
                    <a:gd name="T45" fmla="*/ 209 h 256"/>
                    <a:gd name="T46" fmla="*/ 476 w 289"/>
                    <a:gd name="T47" fmla="*/ 164 h 256"/>
                    <a:gd name="T48" fmla="*/ 499 w 289"/>
                    <a:gd name="T49" fmla="*/ 72 h 256"/>
                    <a:gd name="T50" fmla="*/ 683 w 289"/>
                    <a:gd name="T51" fmla="*/ 102 h 256"/>
                    <a:gd name="T52" fmla="*/ 789 w 289"/>
                    <a:gd name="T53" fmla="*/ 24 h 256"/>
                    <a:gd name="T54" fmla="*/ 956 w 289"/>
                    <a:gd name="T55" fmla="*/ 72 h 256"/>
                    <a:gd name="T56" fmla="*/ 1059 w 289"/>
                    <a:gd name="T57" fmla="*/ 0 h 256"/>
                    <a:gd name="T58" fmla="*/ 1193 w 289"/>
                    <a:gd name="T59" fmla="*/ 50 h 25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289" h="256">
                      <a:moveTo>
                        <a:pt x="209" y="8"/>
                      </a:moveTo>
                      <a:lnTo>
                        <a:pt x="211" y="24"/>
                      </a:lnTo>
                      <a:lnTo>
                        <a:pt x="264" y="57"/>
                      </a:lnTo>
                      <a:lnTo>
                        <a:pt x="283" y="119"/>
                      </a:lnTo>
                      <a:lnTo>
                        <a:pt x="289" y="155"/>
                      </a:lnTo>
                      <a:lnTo>
                        <a:pt x="275" y="159"/>
                      </a:lnTo>
                      <a:lnTo>
                        <a:pt x="248" y="192"/>
                      </a:lnTo>
                      <a:lnTo>
                        <a:pt x="203" y="196"/>
                      </a:lnTo>
                      <a:lnTo>
                        <a:pt x="167" y="216"/>
                      </a:lnTo>
                      <a:lnTo>
                        <a:pt x="143" y="241"/>
                      </a:lnTo>
                      <a:lnTo>
                        <a:pt x="103" y="249"/>
                      </a:lnTo>
                      <a:lnTo>
                        <a:pt x="75" y="252"/>
                      </a:lnTo>
                      <a:lnTo>
                        <a:pt x="68" y="256"/>
                      </a:lnTo>
                      <a:lnTo>
                        <a:pt x="48" y="245"/>
                      </a:lnTo>
                      <a:lnTo>
                        <a:pt x="25" y="223"/>
                      </a:lnTo>
                      <a:lnTo>
                        <a:pt x="4" y="183"/>
                      </a:lnTo>
                      <a:lnTo>
                        <a:pt x="0" y="148"/>
                      </a:lnTo>
                      <a:lnTo>
                        <a:pt x="2" y="109"/>
                      </a:lnTo>
                      <a:lnTo>
                        <a:pt x="2" y="93"/>
                      </a:lnTo>
                      <a:lnTo>
                        <a:pt x="17" y="84"/>
                      </a:lnTo>
                      <a:lnTo>
                        <a:pt x="17" y="53"/>
                      </a:lnTo>
                      <a:lnTo>
                        <a:pt x="52" y="26"/>
                      </a:lnTo>
                      <a:lnTo>
                        <a:pt x="64" y="33"/>
                      </a:lnTo>
                      <a:lnTo>
                        <a:pt x="83" y="27"/>
                      </a:lnTo>
                      <a:lnTo>
                        <a:pt x="87" y="12"/>
                      </a:lnTo>
                      <a:lnTo>
                        <a:pt x="120" y="16"/>
                      </a:lnTo>
                      <a:lnTo>
                        <a:pt x="139" y="4"/>
                      </a:lnTo>
                      <a:lnTo>
                        <a:pt x="167" y="12"/>
                      </a:lnTo>
                      <a:lnTo>
                        <a:pt x="186" y="0"/>
                      </a:lnTo>
                      <a:lnTo>
                        <a:pt x="209" y="8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sz="1125"/>
                </a:p>
              </p:txBody>
            </p:sp>
            <p:sp>
              <p:nvSpPr>
                <p:cNvPr id="68" name="Freeform 36"/>
                <p:cNvSpPr>
                  <a:spLocks/>
                </p:cNvSpPr>
                <p:nvPr/>
              </p:nvSpPr>
              <p:spPr bwMode="auto">
                <a:xfrm>
                  <a:off x="5038057" y="3776257"/>
                  <a:ext cx="912973" cy="854141"/>
                </a:xfrm>
                <a:custGeom>
                  <a:avLst/>
                  <a:gdLst>
                    <a:gd name="T0" fmla="*/ 427 w 439"/>
                    <a:gd name="T1" fmla="*/ 0 h 411"/>
                    <a:gd name="T2" fmla="*/ 439 w 439"/>
                    <a:gd name="T3" fmla="*/ 14 h 411"/>
                    <a:gd name="T4" fmla="*/ 426 w 439"/>
                    <a:gd name="T5" fmla="*/ 45 h 411"/>
                    <a:gd name="T6" fmla="*/ 424 w 439"/>
                    <a:gd name="T7" fmla="*/ 78 h 411"/>
                    <a:gd name="T8" fmla="*/ 415 w 439"/>
                    <a:gd name="T9" fmla="*/ 105 h 411"/>
                    <a:gd name="T10" fmla="*/ 393 w 439"/>
                    <a:gd name="T11" fmla="*/ 94 h 411"/>
                    <a:gd name="T12" fmla="*/ 364 w 439"/>
                    <a:gd name="T13" fmla="*/ 94 h 411"/>
                    <a:gd name="T14" fmla="*/ 340 w 439"/>
                    <a:gd name="T15" fmla="*/ 83 h 411"/>
                    <a:gd name="T16" fmla="*/ 318 w 439"/>
                    <a:gd name="T17" fmla="*/ 100 h 411"/>
                    <a:gd name="T18" fmla="*/ 291 w 439"/>
                    <a:gd name="T19" fmla="*/ 98 h 411"/>
                    <a:gd name="T20" fmla="*/ 269 w 439"/>
                    <a:gd name="T21" fmla="*/ 115 h 411"/>
                    <a:gd name="T22" fmla="*/ 247 w 439"/>
                    <a:gd name="T23" fmla="*/ 134 h 411"/>
                    <a:gd name="T24" fmla="*/ 268 w 439"/>
                    <a:gd name="T25" fmla="*/ 145 h 411"/>
                    <a:gd name="T26" fmla="*/ 292 w 439"/>
                    <a:gd name="T27" fmla="*/ 166 h 411"/>
                    <a:gd name="T28" fmla="*/ 264 w 439"/>
                    <a:gd name="T29" fmla="*/ 159 h 411"/>
                    <a:gd name="T30" fmla="*/ 259 w 439"/>
                    <a:gd name="T31" fmla="*/ 166 h 411"/>
                    <a:gd name="T32" fmla="*/ 272 w 439"/>
                    <a:gd name="T33" fmla="*/ 183 h 411"/>
                    <a:gd name="T34" fmla="*/ 258 w 439"/>
                    <a:gd name="T35" fmla="*/ 184 h 411"/>
                    <a:gd name="T36" fmla="*/ 238 w 439"/>
                    <a:gd name="T37" fmla="*/ 168 h 411"/>
                    <a:gd name="T38" fmla="*/ 245 w 439"/>
                    <a:gd name="T39" fmla="*/ 186 h 411"/>
                    <a:gd name="T40" fmla="*/ 236 w 439"/>
                    <a:gd name="T41" fmla="*/ 197 h 411"/>
                    <a:gd name="T42" fmla="*/ 214 w 439"/>
                    <a:gd name="T43" fmla="*/ 173 h 411"/>
                    <a:gd name="T44" fmla="*/ 190 w 439"/>
                    <a:gd name="T45" fmla="*/ 155 h 411"/>
                    <a:gd name="T46" fmla="*/ 170 w 439"/>
                    <a:gd name="T47" fmla="*/ 158 h 411"/>
                    <a:gd name="T48" fmla="*/ 177 w 439"/>
                    <a:gd name="T49" fmla="*/ 203 h 411"/>
                    <a:gd name="T50" fmla="*/ 194 w 439"/>
                    <a:gd name="T51" fmla="*/ 233 h 411"/>
                    <a:gd name="T52" fmla="*/ 230 w 439"/>
                    <a:gd name="T53" fmla="*/ 267 h 411"/>
                    <a:gd name="T54" fmla="*/ 212 w 439"/>
                    <a:gd name="T55" fmla="*/ 272 h 411"/>
                    <a:gd name="T56" fmla="*/ 196 w 439"/>
                    <a:gd name="T57" fmla="*/ 267 h 411"/>
                    <a:gd name="T58" fmla="*/ 206 w 439"/>
                    <a:gd name="T59" fmla="*/ 293 h 411"/>
                    <a:gd name="T60" fmla="*/ 178 w 439"/>
                    <a:gd name="T61" fmla="*/ 296 h 411"/>
                    <a:gd name="T62" fmla="*/ 198 w 439"/>
                    <a:gd name="T63" fmla="*/ 315 h 411"/>
                    <a:gd name="T64" fmla="*/ 233 w 439"/>
                    <a:gd name="T65" fmla="*/ 328 h 411"/>
                    <a:gd name="T66" fmla="*/ 256 w 439"/>
                    <a:gd name="T67" fmla="*/ 343 h 411"/>
                    <a:gd name="T68" fmla="*/ 280 w 439"/>
                    <a:gd name="T69" fmla="*/ 354 h 411"/>
                    <a:gd name="T70" fmla="*/ 294 w 439"/>
                    <a:gd name="T71" fmla="*/ 375 h 411"/>
                    <a:gd name="T72" fmla="*/ 296 w 439"/>
                    <a:gd name="T73" fmla="*/ 411 h 411"/>
                    <a:gd name="T74" fmla="*/ 260 w 439"/>
                    <a:gd name="T75" fmla="*/ 398 h 411"/>
                    <a:gd name="T76" fmla="*/ 232 w 439"/>
                    <a:gd name="T77" fmla="*/ 387 h 411"/>
                    <a:gd name="T78" fmla="*/ 217 w 439"/>
                    <a:gd name="T79" fmla="*/ 362 h 411"/>
                    <a:gd name="T80" fmla="*/ 200 w 439"/>
                    <a:gd name="T81" fmla="*/ 357 h 411"/>
                    <a:gd name="T82" fmla="*/ 164 w 439"/>
                    <a:gd name="T83" fmla="*/ 357 h 411"/>
                    <a:gd name="T84" fmla="*/ 115 w 439"/>
                    <a:gd name="T85" fmla="*/ 358 h 411"/>
                    <a:gd name="T86" fmla="*/ 90 w 439"/>
                    <a:gd name="T87" fmla="*/ 353 h 411"/>
                    <a:gd name="T88" fmla="*/ 69 w 439"/>
                    <a:gd name="T89" fmla="*/ 352 h 411"/>
                    <a:gd name="T90" fmla="*/ 45 w 439"/>
                    <a:gd name="T91" fmla="*/ 316 h 411"/>
                    <a:gd name="T92" fmla="*/ 68 w 439"/>
                    <a:gd name="T93" fmla="*/ 308 h 411"/>
                    <a:gd name="T94" fmla="*/ 45 w 439"/>
                    <a:gd name="T95" fmla="*/ 295 h 411"/>
                    <a:gd name="T96" fmla="*/ 30 w 439"/>
                    <a:gd name="T97" fmla="*/ 280 h 411"/>
                    <a:gd name="T98" fmla="*/ 7 w 439"/>
                    <a:gd name="T99" fmla="*/ 262 h 411"/>
                    <a:gd name="T100" fmla="*/ 0 w 439"/>
                    <a:gd name="T101" fmla="*/ 235 h 411"/>
                    <a:gd name="T102" fmla="*/ 20 w 439"/>
                    <a:gd name="T103" fmla="*/ 202 h 411"/>
                    <a:gd name="T104" fmla="*/ 53 w 439"/>
                    <a:gd name="T105" fmla="*/ 155 h 411"/>
                    <a:gd name="T106" fmla="*/ 52 w 439"/>
                    <a:gd name="T107" fmla="*/ 132 h 411"/>
                    <a:gd name="T108" fmla="*/ 53 w 439"/>
                    <a:gd name="T109" fmla="*/ 125 h 411"/>
                    <a:gd name="T110" fmla="*/ 87 w 439"/>
                    <a:gd name="T111" fmla="*/ 118 h 411"/>
                    <a:gd name="T112" fmla="*/ 162 w 439"/>
                    <a:gd name="T113" fmla="*/ 88 h 411"/>
                    <a:gd name="T114" fmla="*/ 204 w 439"/>
                    <a:gd name="T115" fmla="*/ 63 h 411"/>
                    <a:gd name="T116" fmla="*/ 260 w 439"/>
                    <a:gd name="T117" fmla="*/ 52 h 411"/>
                    <a:gd name="T118" fmla="*/ 306 w 439"/>
                    <a:gd name="T119" fmla="*/ 33 h 411"/>
                    <a:gd name="T120" fmla="*/ 345 w 439"/>
                    <a:gd name="T121" fmla="*/ 50 h 411"/>
                    <a:gd name="T122" fmla="*/ 400 w 439"/>
                    <a:gd name="T123" fmla="*/ 41 h 411"/>
                    <a:gd name="T124" fmla="*/ 409 w 439"/>
                    <a:gd name="T125" fmla="*/ 1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39" h="411">
                      <a:moveTo>
                        <a:pt x="409" y="1"/>
                      </a:moveTo>
                      <a:lnTo>
                        <a:pt x="427" y="0"/>
                      </a:lnTo>
                      <a:lnTo>
                        <a:pt x="429" y="9"/>
                      </a:lnTo>
                      <a:lnTo>
                        <a:pt x="439" y="14"/>
                      </a:lnTo>
                      <a:lnTo>
                        <a:pt x="437" y="31"/>
                      </a:lnTo>
                      <a:lnTo>
                        <a:pt x="426" y="45"/>
                      </a:lnTo>
                      <a:lnTo>
                        <a:pt x="426" y="63"/>
                      </a:lnTo>
                      <a:lnTo>
                        <a:pt x="424" y="78"/>
                      </a:lnTo>
                      <a:lnTo>
                        <a:pt x="423" y="89"/>
                      </a:lnTo>
                      <a:lnTo>
                        <a:pt x="415" y="105"/>
                      </a:lnTo>
                      <a:lnTo>
                        <a:pt x="406" y="98"/>
                      </a:lnTo>
                      <a:lnTo>
                        <a:pt x="393" y="94"/>
                      </a:lnTo>
                      <a:lnTo>
                        <a:pt x="382" y="92"/>
                      </a:lnTo>
                      <a:lnTo>
                        <a:pt x="364" y="94"/>
                      </a:lnTo>
                      <a:lnTo>
                        <a:pt x="348" y="88"/>
                      </a:lnTo>
                      <a:lnTo>
                        <a:pt x="340" y="83"/>
                      </a:lnTo>
                      <a:lnTo>
                        <a:pt x="324" y="93"/>
                      </a:lnTo>
                      <a:lnTo>
                        <a:pt x="318" y="100"/>
                      </a:lnTo>
                      <a:lnTo>
                        <a:pt x="300" y="100"/>
                      </a:lnTo>
                      <a:lnTo>
                        <a:pt x="291" y="98"/>
                      </a:lnTo>
                      <a:lnTo>
                        <a:pt x="282" y="111"/>
                      </a:lnTo>
                      <a:lnTo>
                        <a:pt x="269" y="115"/>
                      </a:lnTo>
                      <a:lnTo>
                        <a:pt x="255" y="121"/>
                      </a:lnTo>
                      <a:lnTo>
                        <a:pt x="247" y="134"/>
                      </a:lnTo>
                      <a:lnTo>
                        <a:pt x="254" y="143"/>
                      </a:lnTo>
                      <a:lnTo>
                        <a:pt x="268" y="145"/>
                      </a:lnTo>
                      <a:lnTo>
                        <a:pt x="282" y="152"/>
                      </a:lnTo>
                      <a:lnTo>
                        <a:pt x="292" y="166"/>
                      </a:lnTo>
                      <a:lnTo>
                        <a:pt x="281" y="164"/>
                      </a:lnTo>
                      <a:lnTo>
                        <a:pt x="264" y="159"/>
                      </a:lnTo>
                      <a:lnTo>
                        <a:pt x="256" y="159"/>
                      </a:lnTo>
                      <a:lnTo>
                        <a:pt x="259" y="166"/>
                      </a:lnTo>
                      <a:lnTo>
                        <a:pt x="268" y="172"/>
                      </a:lnTo>
                      <a:lnTo>
                        <a:pt x="272" y="183"/>
                      </a:lnTo>
                      <a:lnTo>
                        <a:pt x="272" y="193"/>
                      </a:lnTo>
                      <a:lnTo>
                        <a:pt x="258" y="184"/>
                      </a:lnTo>
                      <a:lnTo>
                        <a:pt x="249" y="174"/>
                      </a:lnTo>
                      <a:lnTo>
                        <a:pt x="238" y="168"/>
                      </a:lnTo>
                      <a:lnTo>
                        <a:pt x="233" y="175"/>
                      </a:lnTo>
                      <a:lnTo>
                        <a:pt x="245" y="186"/>
                      </a:lnTo>
                      <a:lnTo>
                        <a:pt x="249" y="196"/>
                      </a:lnTo>
                      <a:lnTo>
                        <a:pt x="236" y="197"/>
                      </a:lnTo>
                      <a:lnTo>
                        <a:pt x="223" y="184"/>
                      </a:lnTo>
                      <a:lnTo>
                        <a:pt x="214" y="173"/>
                      </a:lnTo>
                      <a:lnTo>
                        <a:pt x="202" y="164"/>
                      </a:lnTo>
                      <a:lnTo>
                        <a:pt x="190" y="155"/>
                      </a:lnTo>
                      <a:lnTo>
                        <a:pt x="182" y="146"/>
                      </a:lnTo>
                      <a:lnTo>
                        <a:pt x="170" y="158"/>
                      </a:lnTo>
                      <a:lnTo>
                        <a:pt x="170" y="180"/>
                      </a:lnTo>
                      <a:lnTo>
                        <a:pt x="177" y="203"/>
                      </a:lnTo>
                      <a:lnTo>
                        <a:pt x="189" y="217"/>
                      </a:lnTo>
                      <a:lnTo>
                        <a:pt x="194" y="233"/>
                      </a:lnTo>
                      <a:lnTo>
                        <a:pt x="221" y="248"/>
                      </a:lnTo>
                      <a:lnTo>
                        <a:pt x="230" y="267"/>
                      </a:lnTo>
                      <a:lnTo>
                        <a:pt x="224" y="275"/>
                      </a:lnTo>
                      <a:lnTo>
                        <a:pt x="212" y="272"/>
                      </a:lnTo>
                      <a:lnTo>
                        <a:pt x="202" y="259"/>
                      </a:lnTo>
                      <a:lnTo>
                        <a:pt x="196" y="267"/>
                      </a:lnTo>
                      <a:lnTo>
                        <a:pt x="203" y="281"/>
                      </a:lnTo>
                      <a:lnTo>
                        <a:pt x="206" y="293"/>
                      </a:lnTo>
                      <a:lnTo>
                        <a:pt x="192" y="297"/>
                      </a:lnTo>
                      <a:lnTo>
                        <a:pt x="178" y="296"/>
                      </a:lnTo>
                      <a:lnTo>
                        <a:pt x="182" y="309"/>
                      </a:lnTo>
                      <a:lnTo>
                        <a:pt x="198" y="315"/>
                      </a:lnTo>
                      <a:lnTo>
                        <a:pt x="217" y="322"/>
                      </a:lnTo>
                      <a:lnTo>
                        <a:pt x="233" y="328"/>
                      </a:lnTo>
                      <a:lnTo>
                        <a:pt x="243" y="335"/>
                      </a:lnTo>
                      <a:lnTo>
                        <a:pt x="256" y="343"/>
                      </a:lnTo>
                      <a:lnTo>
                        <a:pt x="268" y="350"/>
                      </a:lnTo>
                      <a:lnTo>
                        <a:pt x="280" y="354"/>
                      </a:lnTo>
                      <a:lnTo>
                        <a:pt x="291" y="358"/>
                      </a:lnTo>
                      <a:lnTo>
                        <a:pt x="294" y="375"/>
                      </a:lnTo>
                      <a:lnTo>
                        <a:pt x="297" y="396"/>
                      </a:lnTo>
                      <a:lnTo>
                        <a:pt x="296" y="411"/>
                      </a:lnTo>
                      <a:lnTo>
                        <a:pt x="279" y="399"/>
                      </a:lnTo>
                      <a:lnTo>
                        <a:pt x="260" y="398"/>
                      </a:lnTo>
                      <a:lnTo>
                        <a:pt x="243" y="387"/>
                      </a:lnTo>
                      <a:lnTo>
                        <a:pt x="232" y="387"/>
                      </a:lnTo>
                      <a:lnTo>
                        <a:pt x="224" y="375"/>
                      </a:lnTo>
                      <a:lnTo>
                        <a:pt x="217" y="362"/>
                      </a:lnTo>
                      <a:lnTo>
                        <a:pt x="207" y="366"/>
                      </a:lnTo>
                      <a:lnTo>
                        <a:pt x="200" y="357"/>
                      </a:lnTo>
                      <a:lnTo>
                        <a:pt x="181" y="353"/>
                      </a:lnTo>
                      <a:lnTo>
                        <a:pt x="164" y="357"/>
                      </a:lnTo>
                      <a:lnTo>
                        <a:pt x="142" y="356"/>
                      </a:lnTo>
                      <a:lnTo>
                        <a:pt x="115" y="358"/>
                      </a:lnTo>
                      <a:lnTo>
                        <a:pt x="102" y="357"/>
                      </a:lnTo>
                      <a:lnTo>
                        <a:pt x="90" y="353"/>
                      </a:lnTo>
                      <a:lnTo>
                        <a:pt x="78" y="361"/>
                      </a:lnTo>
                      <a:lnTo>
                        <a:pt x="69" y="352"/>
                      </a:lnTo>
                      <a:lnTo>
                        <a:pt x="58" y="330"/>
                      </a:lnTo>
                      <a:lnTo>
                        <a:pt x="45" y="316"/>
                      </a:lnTo>
                      <a:lnTo>
                        <a:pt x="64" y="314"/>
                      </a:lnTo>
                      <a:lnTo>
                        <a:pt x="68" y="308"/>
                      </a:lnTo>
                      <a:lnTo>
                        <a:pt x="58" y="297"/>
                      </a:lnTo>
                      <a:lnTo>
                        <a:pt x="45" y="295"/>
                      </a:lnTo>
                      <a:lnTo>
                        <a:pt x="39" y="306"/>
                      </a:lnTo>
                      <a:lnTo>
                        <a:pt x="30" y="280"/>
                      </a:lnTo>
                      <a:lnTo>
                        <a:pt x="14" y="269"/>
                      </a:lnTo>
                      <a:lnTo>
                        <a:pt x="7" y="262"/>
                      </a:lnTo>
                      <a:lnTo>
                        <a:pt x="6" y="244"/>
                      </a:lnTo>
                      <a:lnTo>
                        <a:pt x="0" y="235"/>
                      </a:lnTo>
                      <a:lnTo>
                        <a:pt x="15" y="217"/>
                      </a:lnTo>
                      <a:lnTo>
                        <a:pt x="20" y="202"/>
                      </a:lnTo>
                      <a:lnTo>
                        <a:pt x="31" y="192"/>
                      </a:lnTo>
                      <a:lnTo>
                        <a:pt x="53" y="155"/>
                      </a:lnTo>
                      <a:lnTo>
                        <a:pt x="54" y="140"/>
                      </a:lnTo>
                      <a:lnTo>
                        <a:pt x="52" y="132"/>
                      </a:lnTo>
                      <a:lnTo>
                        <a:pt x="45" y="121"/>
                      </a:lnTo>
                      <a:lnTo>
                        <a:pt x="53" y="125"/>
                      </a:lnTo>
                      <a:lnTo>
                        <a:pt x="71" y="116"/>
                      </a:lnTo>
                      <a:lnTo>
                        <a:pt x="87" y="118"/>
                      </a:lnTo>
                      <a:lnTo>
                        <a:pt x="135" y="86"/>
                      </a:lnTo>
                      <a:lnTo>
                        <a:pt x="162" y="88"/>
                      </a:lnTo>
                      <a:lnTo>
                        <a:pt x="184" y="63"/>
                      </a:lnTo>
                      <a:lnTo>
                        <a:pt x="204" y="63"/>
                      </a:lnTo>
                      <a:lnTo>
                        <a:pt x="222" y="55"/>
                      </a:lnTo>
                      <a:lnTo>
                        <a:pt x="260" y="52"/>
                      </a:lnTo>
                      <a:lnTo>
                        <a:pt x="271" y="42"/>
                      </a:lnTo>
                      <a:lnTo>
                        <a:pt x="306" y="33"/>
                      </a:lnTo>
                      <a:lnTo>
                        <a:pt x="319" y="44"/>
                      </a:lnTo>
                      <a:lnTo>
                        <a:pt x="345" y="50"/>
                      </a:lnTo>
                      <a:lnTo>
                        <a:pt x="369" y="54"/>
                      </a:lnTo>
                      <a:lnTo>
                        <a:pt x="400" y="41"/>
                      </a:lnTo>
                      <a:lnTo>
                        <a:pt x="409" y="20"/>
                      </a:lnTo>
                      <a:lnTo>
                        <a:pt x="409" y="1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AT" sz="1125"/>
                </a:p>
              </p:txBody>
            </p:sp>
            <p:sp>
              <p:nvSpPr>
                <p:cNvPr id="69" name="Freeform 40"/>
                <p:cNvSpPr>
                  <a:spLocks/>
                </p:cNvSpPr>
                <p:nvPr/>
              </p:nvSpPr>
              <p:spPr bwMode="auto">
                <a:xfrm>
                  <a:off x="5663411" y="4000686"/>
                  <a:ext cx="50116" cy="47936"/>
                </a:xfrm>
                <a:custGeom>
                  <a:avLst/>
                  <a:gdLst>
                    <a:gd name="T0" fmla="*/ 3 w 24"/>
                    <a:gd name="T1" fmla="*/ 17 h 23"/>
                    <a:gd name="T2" fmla="*/ 14 w 24"/>
                    <a:gd name="T3" fmla="*/ 23 h 23"/>
                    <a:gd name="T4" fmla="*/ 20 w 24"/>
                    <a:gd name="T5" fmla="*/ 17 h 23"/>
                    <a:gd name="T6" fmla="*/ 24 w 24"/>
                    <a:gd name="T7" fmla="*/ 8 h 23"/>
                    <a:gd name="T8" fmla="*/ 16 w 24"/>
                    <a:gd name="T9" fmla="*/ 0 h 23"/>
                    <a:gd name="T10" fmla="*/ 4 w 24"/>
                    <a:gd name="T11" fmla="*/ 4 h 23"/>
                    <a:gd name="T12" fmla="*/ 0 w 24"/>
                    <a:gd name="T13" fmla="*/ 10 h 23"/>
                    <a:gd name="T14" fmla="*/ 3 w 24"/>
                    <a:gd name="T15" fmla="*/ 1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" h="23">
                      <a:moveTo>
                        <a:pt x="3" y="17"/>
                      </a:moveTo>
                      <a:lnTo>
                        <a:pt x="14" y="23"/>
                      </a:lnTo>
                      <a:lnTo>
                        <a:pt x="20" y="17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4" y="4"/>
                      </a:lnTo>
                      <a:lnTo>
                        <a:pt x="0" y="10"/>
                      </a:lnTo>
                      <a:lnTo>
                        <a:pt x="3" y="17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AT" sz="1125"/>
                </a:p>
              </p:txBody>
            </p:sp>
            <p:sp>
              <p:nvSpPr>
                <p:cNvPr id="76" name="Freeform 96"/>
                <p:cNvSpPr>
                  <a:spLocks/>
                </p:cNvSpPr>
                <p:nvPr/>
              </p:nvSpPr>
              <p:spPr bwMode="auto">
                <a:xfrm>
                  <a:off x="5898735" y="3697815"/>
                  <a:ext cx="444502" cy="413997"/>
                </a:xfrm>
                <a:custGeom>
                  <a:avLst/>
                  <a:gdLst>
                    <a:gd name="T0" fmla="*/ 0 w 213"/>
                    <a:gd name="T1" fmla="*/ 142 h 199"/>
                    <a:gd name="T2" fmla="*/ 8 w 213"/>
                    <a:gd name="T3" fmla="*/ 129 h 199"/>
                    <a:gd name="T4" fmla="*/ 12 w 213"/>
                    <a:gd name="T5" fmla="*/ 80 h 199"/>
                    <a:gd name="T6" fmla="*/ 21 w 213"/>
                    <a:gd name="T7" fmla="*/ 67 h 199"/>
                    <a:gd name="T8" fmla="*/ 25 w 213"/>
                    <a:gd name="T9" fmla="*/ 50 h 199"/>
                    <a:gd name="T10" fmla="*/ 15 w 213"/>
                    <a:gd name="T11" fmla="*/ 44 h 199"/>
                    <a:gd name="T12" fmla="*/ 12 w 213"/>
                    <a:gd name="T13" fmla="*/ 34 h 199"/>
                    <a:gd name="T14" fmla="*/ 3 w 213"/>
                    <a:gd name="T15" fmla="*/ 33 h 199"/>
                    <a:gd name="T16" fmla="*/ 21 w 213"/>
                    <a:gd name="T17" fmla="*/ 20 h 199"/>
                    <a:gd name="T18" fmla="*/ 35 w 213"/>
                    <a:gd name="T19" fmla="*/ 19 h 199"/>
                    <a:gd name="T20" fmla="*/ 64 w 213"/>
                    <a:gd name="T21" fmla="*/ 0 h 199"/>
                    <a:gd name="T22" fmla="*/ 78 w 213"/>
                    <a:gd name="T23" fmla="*/ 10 h 199"/>
                    <a:gd name="T24" fmla="*/ 96 w 213"/>
                    <a:gd name="T25" fmla="*/ 11 h 199"/>
                    <a:gd name="T26" fmla="*/ 120 w 213"/>
                    <a:gd name="T27" fmla="*/ 5 h 199"/>
                    <a:gd name="T28" fmla="*/ 126 w 213"/>
                    <a:gd name="T29" fmla="*/ 4 h 199"/>
                    <a:gd name="T30" fmla="*/ 127 w 213"/>
                    <a:gd name="T31" fmla="*/ 24 h 199"/>
                    <a:gd name="T32" fmla="*/ 134 w 213"/>
                    <a:gd name="T33" fmla="*/ 33 h 199"/>
                    <a:gd name="T34" fmla="*/ 139 w 213"/>
                    <a:gd name="T35" fmla="*/ 43 h 199"/>
                    <a:gd name="T36" fmla="*/ 152 w 213"/>
                    <a:gd name="T37" fmla="*/ 45 h 199"/>
                    <a:gd name="T38" fmla="*/ 166 w 213"/>
                    <a:gd name="T39" fmla="*/ 51 h 199"/>
                    <a:gd name="T40" fmla="*/ 195 w 213"/>
                    <a:gd name="T41" fmla="*/ 53 h 199"/>
                    <a:gd name="T42" fmla="*/ 205 w 213"/>
                    <a:gd name="T43" fmla="*/ 54 h 199"/>
                    <a:gd name="T44" fmla="*/ 213 w 213"/>
                    <a:gd name="T45" fmla="*/ 59 h 199"/>
                    <a:gd name="T46" fmla="*/ 213 w 213"/>
                    <a:gd name="T47" fmla="*/ 73 h 199"/>
                    <a:gd name="T48" fmla="*/ 201 w 213"/>
                    <a:gd name="T49" fmla="*/ 84 h 199"/>
                    <a:gd name="T50" fmla="*/ 185 w 213"/>
                    <a:gd name="T51" fmla="*/ 89 h 199"/>
                    <a:gd name="T52" fmla="*/ 153 w 213"/>
                    <a:gd name="T53" fmla="*/ 85 h 199"/>
                    <a:gd name="T54" fmla="*/ 133 w 213"/>
                    <a:gd name="T55" fmla="*/ 92 h 199"/>
                    <a:gd name="T56" fmla="*/ 124 w 213"/>
                    <a:gd name="T57" fmla="*/ 96 h 199"/>
                    <a:gd name="T58" fmla="*/ 105 w 213"/>
                    <a:gd name="T59" fmla="*/ 97 h 199"/>
                    <a:gd name="T60" fmla="*/ 96 w 213"/>
                    <a:gd name="T61" fmla="*/ 114 h 199"/>
                    <a:gd name="T62" fmla="*/ 78 w 213"/>
                    <a:gd name="T63" fmla="*/ 131 h 199"/>
                    <a:gd name="T64" fmla="*/ 68 w 213"/>
                    <a:gd name="T65" fmla="*/ 145 h 199"/>
                    <a:gd name="T66" fmla="*/ 53 w 213"/>
                    <a:gd name="T67" fmla="*/ 154 h 199"/>
                    <a:gd name="T68" fmla="*/ 37 w 213"/>
                    <a:gd name="T69" fmla="*/ 171 h 199"/>
                    <a:gd name="T70" fmla="*/ 27 w 213"/>
                    <a:gd name="T71" fmla="*/ 190 h 199"/>
                    <a:gd name="T72" fmla="*/ 15 w 213"/>
                    <a:gd name="T73" fmla="*/ 199 h 199"/>
                    <a:gd name="T74" fmla="*/ 13 w 213"/>
                    <a:gd name="T75" fmla="*/ 184 h 199"/>
                    <a:gd name="T76" fmla="*/ 10 w 213"/>
                    <a:gd name="T77" fmla="*/ 171 h 199"/>
                    <a:gd name="T78" fmla="*/ 28 w 213"/>
                    <a:gd name="T79" fmla="*/ 160 h 199"/>
                    <a:gd name="T80" fmla="*/ 47 w 213"/>
                    <a:gd name="T81" fmla="*/ 151 h 199"/>
                    <a:gd name="T82" fmla="*/ 57 w 213"/>
                    <a:gd name="T83" fmla="*/ 140 h 199"/>
                    <a:gd name="T84" fmla="*/ 47 w 213"/>
                    <a:gd name="T85" fmla="*/ 135 h 199"/>
                    <a:gd name="T86" fmla="*/ 40 w 213"/>
                    <a:gd name="T87" fmla="*/ 144 h 199"/>
                    <a:gd name="T88" fmla="*/ 26 w 213"/>
                    <a:gd name="T89" fmla="*/ 144 h 199"/>
                    <a:gd name="T90" fmla="*/ 14 w 213"/>
                    <a:gd name="T91" fmla="*/ 150 h 199"/>
                    <a:gd name="T92" fmla="*/ 0 w 213"/>
                    <a:gd name="T93" fmla="*/ 142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3" h="199">
                      <a:moveTo>
                        <a:pt x="0" y="142"/>
                      </a:moveTo>
                      <a:lnTo>
                        <a:pt x="8" y="129"/>
                      </a:lnTo>
                      <a:lnTo>
                        <a:pt x="12" y="80"/>
                      </a:lnTo>
                      <a:lnTo>
                        <a:pt x="21" y="67"/>
                      </a:lnTo>
                      <a:lnTo>
                        <a:pt x="25" y="50"/>
                      </a:lnTo>
                      <a:lnTo>
                        <a:pt x="15" y="44"/>
                      </a:lnTo>
                      <a:lnTo>
                        <a:pt x="12" y="34"/>
                      </a:lnTo>
                      <a:lnTo>
                        <a:pt x="3" y="33"/>
                      </a:lnTo>
                      <a:lnTo>
                        <a:pt x="21" y="20"/>
                      </a:lnTo>
                      <a:lnTo>
                        <a:pt x="35" y="19"/>
                      </a:lnTo>
                      <a:lnTo>
                        <a:pt x="64" y="0"/>
                      </a:lnTo>
                      <a:lnTo>
                        <a:pt x="78" y="10"/>
                      </a:lnTo>
                      <a:lnTo>
                        <a:pt x="96" y="11"/>
                      </a:lnTo>
                      <a:lnTo>
                        <a:pt x="120" y="5"/>
                      </a:lnTo>
                      <a:lnTo>
                        <a:pt x="126" y="4"/>
                      </a:lnTo>
                      <a:lnTo>
                        <a:pt x="127" y="24"/>
                      </a:lnTo>
                      <a:lnTo>
                        <a:pt x="134" y="33"/>
                      </a:lnTo>
                      <a:lnTo>
                        <a:pt x="139" y="43"/>
                      </a:lnTo>
                      <a:lnTo>
                        <a:pt x="152" y="45"/>
                      </a:lnTo>
                      <a:lnTo>
                        <a:pt x="166" y="51"/>
                      </a:lnTo>
                      <a:lnTo>
                        <a:pt x="195" y="53"/>
                      </a:lnTo>
                      <a:lnTo>
                        <a:pt x="205" y="54"/>
                      </a:lnTo>
                      <a:lnTo>
                        <a:pt x="213" y="59"/>
                      </a:lnTo>
                      <a:lnTo>
                        <a:pt x="213" y="73"/>
                      </a:lnTo>
                      <a:lnTo>
                        <a:pt x="201" y="84"/>
                      </a:lnTo>
                      <a:lnTo>
                        <a:pt x="185" y="89"/>
                      </a:lnTo>
                      <a:lnTo>
                        <a:pt x="153" y="85"/>
                      </a:lnTo>
                      <a:lnTo>
                        <a:pt x="133" y="92"/>
                      </a:lnTo>
                      <a:lnTo>
                        <a:pt x="124" y="96"/>
                      </a:lnTo>
                      <a:lnTo>
                        <a:pt x="105" y="97"/>
                      </a:lnTo>
                      <a:lnTo>
                        <a:pt x="96" y="114"/>
                      </a:lnTo>
                      <a:lnTo>
                        <a:pt x="78" y="131"/>
                      </a:lnTo>
                      <a:lnTo>
                        <a:pt x="68" y="145"/>
                      </a:lnTo>
                      <a:lnTo>
                        <a:pt x="53" y="154"/>
                      </a:lnTo>
                      <a:lnTo>
                        <a:pt x="37" y="171"/>
                      </a:lnTo>
                      <a:lnTo>
                        <a:pt x="27" y="190"/>
                      </a:lnTo>
                      <a:lnTo>
                        <a:pt x="15" y="199"/>
                      </a:lnTo>
                      <a:lnTo>
                        <a:pt x="13" y="184"/>
                      </a:lnTo>
                      <a:lnTo>
                        <a:pt x="10" y="171"/>
                      </a:lnTo>
                      <a:lnTo>
                        <a:pt x="28" y="160"/>
                      </a:lnTo>
                      <a:lnTo>
                        <a:pt x="47" y="151"/>
                      </a:lnTo>
                      <a:lnTo>
                        <a:pt x="57" y="140"/>
                      </a:lnTo>
                      <a:lnTo>
                        <a:pt x="47" y="135"/>
                      </a:lnTo>
                      <a:lnTo>
                        <a:pt x="40" y="144"/>
                      </a:lnTo>
                      <a:lnTo>
                        <a:pt x="26" y="144"/>
                      </a:lnTo>
                      <a:lnTo>
                        <a:pt x="14" y="150"/>
                      </a:lnTo>
                      <a:lnTo>
                        <a:pt x="0" y="142"/>
                      </a:lnTo>
                      <a:close/>
                    </a:path>
                  </a:pathLst>
                </a:custGeom>
                <a:pattFill prst="wdDnDiag">
                  <a:fgClr>
                    <a:schemeClr val="tx2"/>
                  </a:fgClr>
                  <a:bgClr>
                    <a:schemeClr val="bg1"/>
                  </a:bgClr>
                </a:patt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AT" sz="1125"/>
                </a:p>
              </p:txBody>
            </p:sp>
            <p:sp>
              <p:nvSpPr>
                <p:cNvPr id="80" name="Freeform 97"/>
                <p:cNvSpPr>
                  <a:spLocks/>
                </p:cNvSpPr>
                <p:nvPr/>
              </p:nvSpPr>
              <p:spPr bwMode="auto">
                <a:xfrm>
                  <a:off x="5953208" y="3222808"/>
                  <a:ext cx="2904516" cy="1597156"/>
                </a:xfrm>
                <a:custGeom>
                  <a:avLst/>
                  <a:gdLst>
                    <a:gd name="T0" fmla="*/ 234 w 1395"/>
                    <a:gd name="T1" fmla="*/ 327 h 767"/>
                    <a:gd name="T2" fmla="*/ 224 w 1395"/>
                    <a:gd name="T3" fmla="*/ 334 h 767"/>
                    <a:gd name="T4" fmla="*/ 183 w 1395"/>
                    <a:gd name="T5" fmla="*/ 355 h 767"/>
                    <a:gd name="T6" fmla="*/ 151 w 1395"/>
                    <a:gd name="T7" fmla="*/ 369 h 767"/>
                    <a:gd name="T8" fmla="*/ 116 w 1395"/>
                    <a:gd name="T9" fmla="*/ 371 h 767"/>
                    <a:gd name="T10" fmla="*/ 73 w 1395"/>
                    <a:gd name="T11" fmla="*/ 385 h 767"/>
                    <a:gd name="T12" fmla="*/ 30 w 1395"/>
                    <a:gd name="T13" fmla="*/ 397 h 767"/>
                    <a:gd name="T14" fmla="*/ 10 w 1395"/>
                    <a:gd name="T15" fmla="*/ 430 h 767"/>
                    <a:gd name="T16" fmla="*/ 5 w 1395"/>
                    <a:gd name="T17" fmla="*/ 468 h 767"/>
                    <a:gd name="T18" fmla="*/ 39 w 1395"/>
                    <a:gd name="T19" fmla="*/ 476 h 767"/>
                    <a:gd name="T20" fmla="*/ 47 w 1395"/>
                    <a:gd name="T21" fmla="*/ 504 h 767"/>
                    <a:gd name="T22" fmla="*/ 61 w 1395"/>
                    <a:gd name="T23" fmla="*/ 552 h 767"/>
                    <a:gd name="T24" fmla="*/ 59 w 1395"/>
                    <a:gd name="T25" fmla="*/ 583 h 767"/>
                    <a:gd name="T26" fmla="*/ 32 w 1395"/>
                    <a:gd name="T27" fmla="*/ 572 h 767"/>
                    <a:gd name="T28" fmla="*/ 35 w 1395"/>
                    <a:gd name="T29" fmla="*/ 606 h 767"/>
                    <a:gd name="T30" fmla="*/ 90 w 1395"/>
                    <a:gd name="T31" fmla="*/ 613 h 767"/>
                    <a:gd name="T32" fmla="*/ 94 w 1395"/>
                    <a:gd name="T33" fmla="*/ 647 h 767"/>
                    <a:gd name="T34" fmla="*/ 112 w 1395"/>
                    <a:gd name="T35" fmla="*/ 670 h 767"/>
                    <a:gd name="T36" fmla="*/ 129 w 1395"/>
                    <a:gd name="T37" fmla="*/ 696 h 767"/>
                    <a:gd name="T38" fmla="*/ 180 w 1395"/>
                    <a:gd name="T39" fmla="*/ 698 h 767"/>
                    <a:gd name="T40" fmla="*/ 160 w 1395"/>
                    <a:gd name="T41" fmla="*/ 722 h 767"/>
                    <a:gd name="T42" fmla="*/ 149 w 1395"/>
                    <a:gd name="T43" fmla="*/ 743 h 767"/>
                    <a:gd name="T44" fmla="*/ 183 w 1395"/>
                    <a:gd name="T45" fmla="*/ 734 h 767"/>
                    <a:gd name="T46" fmla="*/ 215 w 1395"/>
                    <a:gd name="T47" fmla="*/ 716 h 767"/>
                    <a:gd name="T48" fmla="*/ 250 w 1395"/>
                    <a:gd name="T49" fmla="*/ 717 h 767"/>
                    <a:gd name="T50" fmla="*/ 268 w 1395"/>
                    <a:gd name="T51" fmla="*/ 749 h 767"/>
                    <a:gd name="T52" fmla="*/ 309 w 1395"/>
                    <a:gd name="T53" fmla="*/ 767 h 767"/>
                    <a:gd name="T54" fmla="*/ 348 w 1395"/>
                    <a:gd name="T55" fmla="*/ 749 h 767"/>
                    <a:gd name="T56" fmla="*/ 370 w 1395"/>
                    <a:gd name="T57" fmla="*/ 715 h 767"/>
                    <a:gd name="T58" fmla="*/ 427 w 1395"/>
                    <a:gd name="T59" fmla="*/ 681 h 767"/>
                    <a:gd name="T60" fmla="*/ 492 w 1395"/>
                    <a:gd name="T61" fmla="*/ 706 h 767"/>
                    <a:gd name="T62" fmla="*/ 554 w 1395"/>
                    <a:gd name="T63" fmla="*/ 733 h 767"/>
                    <a:gd name="T64" fmla="*/ 591 w 1395"/>
                    <a:gd name="T65" fmla="*/ 715 h 767"/>
                    <a:gd name="T66" fmla="*/ 633 w 1395"/>
                    <a:gd name="T67" fmla="*/ 678 h 767"/>
                    <a:gd name="T68" fmla="*/ 681 w 1395"/>
                    <a:gd name="T69" fmla="*/ 628 h 767"/>
                    <a:gd name="T70" fmla="*/ 744 w 1395"/>
                    <a:gd name="T71" fmla="*/ 643 h 767"/>
                    <a:gd name="T72" fmla="*/ 776 w 1395"/>
                    <a:gd name="T73" fmla="*/ 630 h 767"/>
                    <a:gd name="T74" fmla="*/ 785 w 1395"/>
                    <a:gd name="T75" fmla="*/ 691 h 767"/>
                    <a:gd name="T76" fmla="*/ 813 w 1395"/>
                    <a:gd name="T77" fmla="*/ 655 h 767"/>
                    <a:gd name="T78" fmla="*/ 814 w 1395"/>
                    <a:gd name="T79" fmla="*/ 632 h 767"/>
                    <a:gd name="T80" fmla="*/ 870 w 1395"/>
                    <a:gd name="T81" fmla="*/ 596 h 767"/>
                    <a:gd name="T82" fmla="*/ 937 w 1395"/>
                    <a:gd name="T83" fmla="*/ 545 h 767"/>
                    <a:gd name="T84" fmla="*/ 993 w 1395"/>
                    <a:gd name="T85" fmla="*/ 560 h 767"/>
                    <a:gd name="T86" fmla="*/ 1084 w 1395"/>
                    <a:gd name="T87" fmla="*/ 488 h 767"/>
                    <a:gd name="T88" fmla="*/ 1193 w 1395"/>
                    <a:gd name="T89" fmla="*/ 441 h 767"/>
                    <a:gd name="T90" fmla="*/ 1293 w 1395"/>
                    <a:gd name="T91" fmla="*/ 388 h 767"/>
                    <a:gd name="T92" fmla="*/ 1371 w 1395"/>
                    <a:gd name="T93" fmla="*/ 385 h 767"/>
                    <a:gd name="T94" fmla="*/ 1363 w 1395"/>
                    <a:gd name="T95" fmla="*/ 324 h 767"/>
                    <a:gd name="T96" fmla="*/ 1310 w 1395"/>
                    <a:gd name="T97" fmla="*/ 216 h 767"/>
                    <a:gd name="T98" fmla="*/ 1297 w 1395"/>
                    <a:gd name="T99" fmla="*/ 135 h 767"/>
                    <a:gd name="T100" fmla="*/ 1228 w 1395"/>
                    <a:gd name="T101" fmla="*/ 101 h 767"/>
                    <a:gd name="T102" fmla="*/ 1144 w 1395"/>
                    <a:gd name="T103" fmla="*/ 19 h 767"/>
                    <a:gd name="T104" fmla="*/ 1059 w 1395"/>
                    <a:gd name="T105" fmla="*/ 28 h 767"/>
                    <a:gd name="T106" fmla="*/ 958 w 1395"/>
                    <a:gd name="T107" fmla="*/ 125 h 767"/>
                    <a:gd name="T108" fmla="*/ 827 w 1395"/>
                    <a:gd name="T109" fmla="*/ 165 h 767"/>
                    <a:gd name="T110" fmla="*/ 714 w 1395"/>
                    <a:gd name="T111" fmla="*/ 162 h 767"/>
                    <a:gd name="T112" fmla="*/ 610 w 1395"/>
                    <a:gd name="T113" fmla="*/ 138 h 767"/>
                    <a:gd name="T114" fmla="*/ 488 w 1395"/>
                    <a:gd name="T115" fmla="*/ 147 h 767"/>
                    <a:gd name="T116" fmla="*/ 349 w 1395"/>
                    <a:gd name="T117" fmla="*/ 247 h 767"/>
                    <a:gd name="T118" fmla="*/ 221 w 1395"/>
                    <a:gd name="T119" fmla="*/ 287 h 7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395" h="767">
                      <a:moveTo>
                        <a:pt x="192" y="311"/>
                      </a:moveTo>
                      <a:lnTo>
                        <a:pt x="210" y="328"/>
                      </a:lnTo>
                      <a:lnTo>
                        <a:pt x="225" y="328"/>
                      </a:lnTo>
                      <a:lnTo>
                        <a:pt x="234" y="327"/>
                      </a:lnTo>
                      <a:lnTo>
                        <a:pt x="243" y="320"/>
                      </a:lnTo>
                      <a:lnTo>
                        <a:pt x="253" y="331"/>
                      </a:lnTo>
                      <a:lnTo>
                        <a:pt x="241" y="336"/>
                      </a:lnTo>
                      <a:lnTo>
                        <a:pt x="224" y="334"/>
                      </a:lnTo>
                      <a:lnTo>
                        <a:pt x="213" y="339"/>
                      </a:lnTo>
                      <a:lnTo>
                        <a:pt x="194" y="340"/>
                      </a:lnTo>
                      <a:lnTo>
                        <a:pt x="187" y="345"/>
                      </a:lnTo>
                      <a:lnTo>
                        <a:pt x="183" y="355"/>
                      </a:lnTo>
                      <a:lnTo>
                        <a:pt x="193" y="360"/>
                      </a:lnTo>
                      <a:lnTo>
                        <a:pt x="199" y="371"/>
                      </a:lnTo>
                      <a:lnTo>
                        <a:pt x="192" y="372"/>
                      </a:lnTo>
                      <a:lnTo>
                        <a:pt x="151" y="369"/>
                      </a:lnTo>
                      <a:lnTo>
                        <a:pt x="143" y="377"/>
                      </a:lnTo>
                      <a:lnTo>
                        <a:pt x="137" y="379"/>
                      </a:lnTo>
                      <a:lnTo>
                        <a:pt x="128" y="383"/>
                      </a:lnTo>
                      <a:lnTo>
                        <a:pt x="116" y="371"/>
                      </a:lnTo>
                      <a:lnTo>
                        <a:pt x="101" y="370"/>
                      </a:lnTo>
                      <a:lnTo>
                        <a:pt x="98" y="385"/>
                      </a:lnTo>
                      <a:lnTo>
                        <a:pt x="86" y="392"/>
                      </a:lnTo>
                      <a:lnTo>
                        <a:pt x="73" y="385"/>
                      </a:lnTo>
                      <a:lnTo>
                        <a:pt x="61" y="382"/>
                      </a:lnTo>
                      <a:lnTo>
                        <a:pt x="53" y="393"/>
                      </a:lnTo>
                      <a:lnTo>
                        <a:pt x="39" y="395"/>
                      </a:lnTo>
                      <a:lnTo>
                        <a:pt x="30" y="397"/>
                      </a:lnTo>
                      <a:lnTo>
                        <a:pt x="27" y="405"/>
                      </a:lnTo>
                      <a:lnTo>
                        <a:pt x="20" y="414"/>
                      </a:lnTo>
                      <a:lnTo>
                        <a:pt x="16" y="422"/>
                      </a:lnTo>
                      <a:lnTo>
                        <a:pt x="10" y="430"/>
                      </a:lnTo>
                      <a:lnTo>
                        <a:pt x="4" y="435"/>
                      </a:lnTo>
                      <a:lnTo>
                        <a:pt x="0" y="441"/>
                      </a:lnTo>
                      <a:lnTo>
                        <a:pt x="1" y="452"/>
                      </a:lnTo>
                      <a:lnTo>
                        <a:pt x="5" y="468"/>
                      </a:lnTo>
                      <a:lnTo>
                        <a:pt x="3" y="480"/>
                      </a:lnTo>
                      <a:lnTo>
                        <a:pt x="12" y="485"/>
                      </a:lnTo>
                      <a:lnTo>
                        <a:pt x="28" y="483"/>
                      </a:lnTo>
                      <a:lnTo>
                        <a:pt x="39" y="476"/>
                      </a:lnTo>
                      <a:lnTo>
                        <a:pt x="56" y="474"/>
                      </a:lnTo>
                      <a:lnTo>
                        <a:pt x="56" y="484"/>
                      </a:lnTo>
                      <a:lnTo>
                        <a:pt x="49" y="495"/>
                      </a:lnTo>
                      <a:lnTo>
                        <a:pt x="47" y="504"/>
                      </a:lnTo>
                      <a:lnTo>
                        <a:pt x="57" y="521"/>
                      </a:lnTo>
                      <a:lnTo>
                        <a:pt x="69" y="533"/>
                      </a:lnTo>
                      <a:lnTo>
                        <a:pt x="72" y="540"/>
                      </a:lnTo>
                      <a:lnTo>
                        <a:pt x="61" y="552"/>
                      </a:lnTo>
                      <a:lnTo>
                        <a:pt x="63" y="563"/>
                      </a:lnTo>
                      <a:lnTo>
                        <a:pt x="74" y="574"/>
                      </a:lnTo>
                      <a:lnTo>
                        <a:pt x="65" y="583"/>
                      </a:lnTo>
                      <a:lnTo>
                        <a:pt x="59" y="583"/>
                      </a:lnTo>
                      <a:lnTo>
                        <a:pt x="49" y="578"/>
                      </a:lnTo>
                      <a:lnTo>
                        <a:pt x="45" y="570"/>
                      </a:lnTo>
                      <a:lnTo>
                        <a:pt x="41" y="561"/>
                      </a:lnTo>
                      <a:lnTo>
                        <a:pt x="32" y="572"/>
                      </a:lnTo>
                      <a:lnTo>
                        <a:pt x="36" y="584"/>
                      </a:lnTo>
                      <a:lnTo>
                        <a:pt x="31" y="591"/>
                      </a:lnTo>
                      <a:lnTo>
                        <a:pt x="26" y="596"/>
                      </a:lnTo>
                      <a:lnTo>
                        <a:pt x="35" y="606"/>
                      </a:lnTo>
                      <a:lnTo>
                        <a:pt x="50" y="610"/>
                      </a:lnTo>
                      <a:lnTo>
                        <a:pt x="60" y="604"/>
                      </a:lnTo>
                      <a:lnTo>
                        <a:pt x="71" y="613"/>
                      </a:lnTo>
                      <a:lnTo>
                        <a:pt x="90" y="613"/>
                      </a:lnTo>
                      <a:lnTo>
                        <a:pt x="99" y="617"/>
                      </a:lnTo>
                      <a:lnTo>
                        <a:pt x="103" y="630"/>
                      </a:lnTo>
                      <a:lnTo>
                        <a:pt x="104" y="639"/>
                      </a:lnTo>
                      <a:lnTo>
                        <a:pt x="94" y="647"/>
                      </a:lnTo>
                      <a:lnTo>
                        <a:pt x="101" y="658"/>
                      </a:lnTo>
                      <a:lnTo>
                        <a:pt x="109" y="653"/>
                      </a:lnTo>
                      <a:lnTo>
                        <a:pt x="120" y="653"/>
                      </a:lnTo>
                      <a:lnTo>
                        <a:pt x="112" y="670"/>
                      </a:lnTo>
                      <a:lnTo>
                        <a:pt x="117" y="677"/>
                      </a:lnTo>
                      <a:lnTo>
                        <a:pt x="134" y="680"/>
                      </a:lnTo>
                      <a:lnTo>
                        <a:pt x="134" y="691"/>
                      </a:lnTo>
                      <a:lnTo>
                        <a:pt x="129" y="696"/>
                      </a:lnTo>
                      <a:lnTo>
                        <a:pt x="126" y="710"/>
                      </a:lnTo>
                      <a:lnTo>
                        <a:pt x="136" y="711"/>
                      </a:lnTo>
                      <a:lnTo>
                        <a:pt x="160" y="705"/>
                      </a:lnTo>
                      <a:lnTo>
                        <a:pt x="180" y="698"/>
                      </a:lnTo>
                      <a:lnTo>
                        <a:pt x="197" y="694"/>
                      </a:lnTo>
                      <a:lnTo>
                        <a:pt x="188" y="709"/>
                      </a:lnTo>
                      <a:lnTo>
                        <a:pt x="176" y="716"/>
                      </a:lnTo>
                      <a:lnTo>
                        <a:pt x="160" y="722"/>
                      </a:lnTo>
                      <a:lnTo>
                        <a:pt x="147" y="725"/>
                      </a:lnTo>
                      <a:lnTo>
                        <a:pt x="138" y="732"/>
                      </a:lnTo>
                      <a:lnTo>
                        <a:pt x="132" y="743"/>
                      </a:lnTo>
                      <a:lnTo>
                        <a:pt x="149" y="743"/>
                      </a:lnTo>
                      <a:lnTo>
                        <a:pt x="162" y="737"/>
                      </a:lnTo>
                      <a:lnTo>
                        <a:pt x="169" y="732"/>
                      </a:lnTo>
                      <a:lnTo>
                        <a:pt x="178" y="728"/>
                      </a:lnTo>
                      <a:lnTo>
                        <a:pt x="183" y="734"/>
                      </a:lnTo>
                      <a:lnTo>
                        <a:pt x="183" y="740"/>
                      </a:lnTo>
                      <a:lnTo>
                        <a:pt x="196" y="737"/>
                      </a:lnTo>
                      <a:lnTo>
                        <a:pt x="204" y="722"/>
                      </a:lnTo>
                      <a:lnTo>
                        <a:pt x="215" y="716"/>
                      </a:lnTo>
                      <a:lnTo>
                        <a:pt x="225" y="724"/>
                      </a:lnTo>
                      <a:lnTo>
                        <a:pt x="234" y="728"/>
                      </a:lnTo>
                      <a:lnTo>
                        <a:pt x="243" y="729"/>
                      </a:lnTo>
                      <a:lnTo>
                        <a:pt x="250" y="717"/>
                      </a:lnTo>
                      <a:lnTo>
                        <a:pt x="259" y="719"/>
                      </a:lnTo>
                      <a:lnTo>
                        <a:pt x="257" y="732"/>
                      </a:lnTo>
                      <a:lnTo>
                        <a:pt x="268" y="740"/>
                      </a:lnTo>
                      <a:lnTo>
                        <a:pt x="268" y="749"/>
                      </a:lnTo>
                      <a:lnTo>
                        <a:pt x="280" y="755"/>
                      </a:lnTo>
                      <a:lnTo>
                        <a:pt x="288" y="763"/>
                      </a:lnTo>
                      <a:lnTo>
                        <a:pt x="303" y="766"/>
                      </a:lnTo>
                      <a:lnTo>
                        <a:pt x="309" y="767"/>
                      </a:lnTo>
                      <a:lnTo>
                        <a:pt x="322" y="757"/>
                      </a:lnTo>
                      <a:lnTo>
                        <a:pt x="325" y="765"/>
                      </a:lnTo>
                      <a:lnTo>
                        <a:pt x="334" y="758"/>
                      </a:lnTo>
                      <a:lnTo>
                        <a:pt x="348" y="749"/>
                      </a:lnTo>
                      <a:lnTo>
                        <a:pt x="352" y="749"/>
                      </a:lnTo>
                      <a:lnTo>
                        <a:pt x="364" y="737"/>
                      </a:lnTo>
                      <a:lnTo>
                        <a:pt x="366" y="727"/>
                      </a:lnTo>
                      <a:lnTo>
                        <a:pt x="370" y="715"/>
                      </a:lnTo>
                      <a:lnTo>
                        <a:pt x="374" y="681"/>
                      </a:lnTo>
                      <a:lnTo>
                        <a:pt x="382" y="686"/>
                      </a:lnTo>
                      <a:lnTo>
                        <a:pt x="402" y="671"/>
                      </a:lnTo>
                      <a:lnTo>
                        <a:pt x="427" y="681"/>
                      </a:lnTo>
                      <a:lnTo>
                        <a:pt x="439" y="687"/>
                      </a:lnTo>
                      <a:lnTo>
                        <a:pt x="458" y="693"/>
                      </a:lnTo>
                      <a:lnTo>
                        <a:pt x="476" y="699"/>
                      </a:lnTo>
                      <a:lnTo>
                        <a:pt x="492" y="706"/>
                      </a:lnTo>
                      <a:lnTo>
                        <a:pt x="507" y="715"/>
                      </a:lnTo>
                      <a:lnTo>
                        <a:pt x="521" y="730"/>
                      </a:lnTo>
                      <a:lnTo>
                        <a:pt x="532" y="733"/>
                      </a:lnTo>
                      <a:lnTo>
                        <a:pt x="554" y="733"/>
                      </a:lnTo>
                      <a:lnTo>
                        <a:pt x="570" y="717"/>
                      </a:lnTo>
                      <a:lnTo>
                        <a:pt x="579" y="721"/>
                      </a:lnTo>
                      <a:lnTo>
                        <a:pt x="585" y="717"/>
                      </a:lnTo>
                      <a:lnTo>
                        <a:pt x="591" y="715"/>
                      </a:lnTo>
                      <a:lnTo>
                        <a:pt x="597" y="711"/>
                      </a:lnTo>
                      <a:lnTo>
                        <a:pt x="607" y="706"/>
                      </a:lnTo>
                      <a:lnTo>
                        <a:pt x="619" y="692"/>
                      </a:lnTo>
                      <a:lnTo>
                        <a:pt x="633" y="678"/>
                      </a:lnTo>
                      <a:lnTo>
                        <a:pt x="643" y="658"/>
                      </a:lnTo>
                      <a:lnTo>
                        <a:pt x="656" y="636"/>
                      </a:lnTo>
                      <a:lnTo>
                        <a:pt x="672" y="626"/>
                      </a:lnTo>
                      <a:lnTo>
                        <a:pt x="681" y="628"/>
                      </a:lnTo>
                      <a:lnTo>
                        <a:pt x="700" y="633"/>
                      </a:lnTo>
                      <a:lnTo>
                        <a:pt x="715" y="640"/>
                      </a:lnTo>
                      <a:lnTo>
                        <a:pt x="726" y="644"/>
                      </a:lnTo>
                      <a:lnTo>
                        <a:pt x="744" y="643"/>
                      </a:lnTo>
                      <a:lnTo>
                        <a:pt x="751" y="620"/>
                      </a:lnTo>
                      <a:lnTo>
                        <a:pt x="757" y="604"/>
                      </a:lnTo>
                      <a:lnTo>
                        <a:pt x="777" y="608"/>
                      </a:lnTo>
                      <a:lnTo>
                        <a:pt x="776" y="630"/>
                      </a:lnTo>
                      <a:lnTo>
                        <a:pt x="775" y="647"/>
                      </a:lnTo>
                      <a:lnTo>
                        <a:pt x="776" y="662"/>
                      </a:lnTo>
                      <a:lnTo>
                        <a:pt x="778" y="684"/>
                      </a:lnTo>
                      <a:lnTo>
                        <a:pt x="785" y="691"/>
                      </a:lnTo>
                      <a:lnTo>
                        <a:pt x="803" y="690"/>
                      </a:lnTo>
                      <a:lnTo>
                        <a:pt x="807" y="672"/>
                      </a:lnTo>
                      <a:lnTo>
                        <a:pt x="809" y="661"/>
                      </a:lnTo>
                      <a:lnTo>
                        <a:pt x="813" y="655"/>
                      </a:lnTo>
                      <a:lnTo>
                        <a:pt x="825" y="650"/>
                      </a:lnTo>
                      <a:lnTo>
                        <a:pt x="833" y="648"/>
                      </a:lnTo>
                      <a:lnTo>
                        <a:pt x="832" y="642"/>
                      </a:lnTo>
                      <a:lnTo>
                        <a:pt x="814" y="632"/>
                      </a:lnTo>
                      <a:lnTo>
                        <a:pt x="812" y="586"/>
                      </a:lnTo>
                      <a:lnTo>
                        <a:pt x="851" y="592"/>
                      </a:lnTo>
                      <a:lnTo>
                        <a:pt x="855" y="601"/>
                      </a:lnTo>
                      <a:lnTo>
                        <a:pt x="870" y="596"/>
                      </a:lnTo>
                      <a:lnTo>
                        <a:pt x="889" y="578"/>
                      </a:lnTo>
                      <a:lnTo>
                        <a:pt x="908" y="572"/>
                      </a:lnTo>
                      <a:lnTo>
                        <a:pt x="917" y="554"/>
                      </a:lnTo>
                      <a:lnTo>
                        <a:pt x="937" y="545"/>
                      </a:lnTo>
                      <a:lnTo>
                        <a:pt x="950" y="552"/>
                      </a:lnTo>
                      <a:lnTo>
                        <a:pt x="967" y="555"/>
                      </a:lnTo>
                      <a:lnTo>
                        <a:pt x="979" y="559"/>
                      </a:lnTo>
                      <a:lnTo>
                        <a:pt x="993" y="560"/>
                      </a:lnTo>
                      <a:lnTo>
                        <a:pt x="1003" y="554"/>
                      </a:lnTo>
                      <a:lnTo>
                        <a:pt x="1040" y="533"/>
                      </a:lnTo>
                      <a:lnTo>
                        <a:pt x="1068" y="513"/>
                      </a:lnTo>
                      <a:lnTo>
                        <a:pt x="1084" y="488"/>
                      </a:lnTo>
                      <a:lnTo>
                        <a:pt x="1100" y="485"/>
                      </a:lnTo>
                      <a:lnTo>
                        <a:pt x="1121" y="466"/>
                      </a:lnTo>
                      <a:lnTo>
                        <a:pt x="1161" y="460"/>
                      </a:lnTo>
                      <a:lnTo>
                        <a:pt x="1193" y="441"/>
                      </a:lnTo>
                      <a:lnTo>
                        <a:pt x="1205" y="421"/>
                      </a:lnTo>
                      <a:lnTo>
                        <a:pt x="1232" y="432"/>
                      </a:lnTo>
                      <a:lnTo>
                        <a:pt x="1253" y="386"/>
                      </a:lnTo>
                      <a:lnTo>
                        <a:pt x="1293" y="388"/>
                      </a:lnTo>
                      <a:lnTo>
                        <a:pt x="1317" y="378"/>
                      </a:lnTo>
                      <a:lnTo>
                        <a:pt x="1339" y="369"/>
                      </a:lnTo>
                      <a:lnTo>
                        <a:pt x="1359" y="372"/>
                      </a:lnTo>
                      <a:lnTo>
                        <a:pt x="1371" y="385"/>
                      </a:lnTo>
                      <a:lnTo>
                        <a:pt x="1383" y="369"/>
                      </a:lnTo>
                      <a:lnTo>
                        <a:pt x="1395" y="362"/>
                      </a:lnTo>
                      <a:lnTo>
                        <a:pt x="1386" y="340"/>
                      </a:lnTo>
                      <a:lnTo>
                        <a:pt x="1363" y="324"/>
                      </a:lnTo>
                      <a:lnTo>
                        <a:pt x="1340" y="318"/>
                      </a:lnTo>
                      <a:lnTo>
                        <a:pt x="1335" y="286"/>
                      </a:lnTo>
                      <a:lnTo>
                        <a:pt x="1321" y="252"/>
                      </a:lnTo>
                      <a:lnTo>
                        <a:pt x="1310" y="216"/>
                      </a:lnTo>
                      <a:lnTo>
                        <a:pt x="1292" y="193"/>
                      </a:lnTo>
                      <a:lnTo>
                        <a:pt x="1280" y="175"/>
                      </a:lnTo>
                      <a:lnTo>
                        <a:pt x="1290" y="159"/>
                      </a:lnTo>
                      <a:lnTo>
                        <a:pt x="1297" y="135"/>
                      </a:lnTo>
                      <a:lnTo>
                        <a:pt x="1299" y="118"/>
                      </a:lnTo>
                      <a:lnTo>
                        <a:pt x="1273" y="112"/>
                      </a:lnTo>
                      <a:lnTo>
                        <a:pt x="1250" y="102"/>
                      </a:lnTo>
                      <a:lnTo>
                        <a:pt x="1228" y="101"/>
                      </a:lnTo>
                      <a:lnTo>
                        <a:pt x="1208" y="76"/>
                      </a:lnTo>
                      <a:lnTo>
                        <a:pt x="1193" y="39"/>
                      </a:lnTo>
                      <a:lnTo>
                        <a:pt x="1171" y="26"/>
                      </a:lnTo>
                      <a:lnTo>
                        <a:pt x="1144" y="19"/>
                      </a:lnTo>
                      <a:lnTo>
                        <a:pt x="1131" y="7"/>
                      </a:lnTo>
                      <a:lnTo>
                        <a:pt x="1104" y="0"/>
                      </a:lnTo>
                      <a:lnTo>
                        <a:pt x="1097" y="25"/>
                      </a:lnTo>
                      <a:lnTo>
                        <a:pt x="1059" y="28"/>
                      </a:lnTo>
                      <a:lnTo>
                        <a:pt x="1033" y="38"/>
                      </a:lnTo>
                      <a:lnTo>
                        <a:pt x="1011" y="56"/>
                      </a:lnTo>
                      <a:lnTo>
                        <a:pt x="988" y="93"/>
                      </a:lnTo>
                      <a:lnTo>
                        <a:pt x="958" y="125"/>
                      </a:lnTo>
                      <a:lnTo>
                        <a:pt x="931" y="124"/>
                      </a:lnTo>
                      <a:lnTo>
                        <a:pt x="891" y="128"/>
                      </a:lnTo>
                      <a:lnTo>
                        <a:pt x="851" y="149"/>
                      </a:lnTo>
                      <a:lnTo>
                        <a:pt x="827" y="165"/>
                      </a:lnTo>
                      <a:lnTo>
                        <a:pt x="792" y="164"/>
                      </a:lnTo>
                      <a:lnTo>
                        <a:pt x="773" y="181"/>
                      </a:lnTo>
                      <a:lnTo>
                        <a:pt x="744" y="169"/>
                      </a:lnTo>
                      <a:lnTo>
                        <a:pt x="714" y="162"/>
                      </a:lnTo>
                      <a:lnTo>
                        <a:pt x="689" y="170"/>
                      </a:lnTo>
                      <a:lnTo>
                        <a:pt x="664" y="128"/>
                      </a:lnTo>
                      <a:lnTo>
                        <a:pt x="642" y="148"/>
                      </a:lnTo>
                      <a:lnTo>
                        <a:pt x="610" y="138"/>
                      </a:lnTo>
                      <a:lnTo>
                        <a:pt x="586" y="116"/>
                      </a:lnTo>
                      <a:lnTo>
                        <a:pt x="574" y="123"/>
                      </a:lnTo>
                      <a:lnTo>
                        <a:pt x="535" y="139"/>
                      </a:lnTo>
                      <a:lnTo>
                        <a:pt x="488" y="147"/>
                      </a:lnTo>
                      <a:lnTo>
                        <a:pt x="439" y="164"/>
                      </a:lnTo>
                      <a:lnTo>
                        <a:pt x="398" y="199"/>
                      </a:lnTo>
                      <a:lnTo>
                        <a:pt x="373" y="221"/>
                      </a:lnTo>
                      <a:lnTo>
                        <a:pt x="349" y="247"/>
                      </a:lnTo>
                      <a:lnTo>
                        <a:pt x="348" y="267"/>
                      </a:lnTo>
                      <a:lnTo>
                        <a:pt x="326" y="278"/>
                      </a:lnTo>
                      <a:lnTo>
                        <a:pt x="271" y="281"/>
                      </a:lnTo>
                      <a:lnTo>
                        <a:pt x="221" y="287"/>
                      </a:lnTo>
                      <a:lnTo>
                        <a:pt x="199" y="290"/>
                      </a:lnTo>
                      <a:lnTo>
                        <a:pt x="188" y="293"/>
                      </a:lnTo>
                      <a:lnTo>
                        <a:pt x="188" y="312"/>
                      </a:lnTo>
                    </a:path>
                  </a:pathLst>
                </a:custGeom>
                <a:pattFill prst="wdDnDiag">
                  <a:fgClr>
                    <a:schemeClr val="tx2"/>
                  </a:fgClr>
                  <a:bgClr>
                    <a:schemeClr val="bg1"/>
                  </a:bgClr>
                </a:pattFill>
                <a:ln w="12700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AT" sz="1125"/>
                </a:p>
              </p:txBody>
            </p:sp>
          </p:grpSp>
          <p:pic>
            <p:nvPicPr>
              <p:cNvPr id="21" name="Picture 169" descr="CLAIM_POST_4C_POSITIV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DFDFD"/>
                  </a:clrFrom>
                  <a:clrTo>
                    <a:srgbClr val="FDFD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5363"/>
              <a:stretch>
                <a:fillRect/>
              </a:stretch>
            </p:blipFill>
            <p:spPr bwMode="auto">
              <a:xfrm>
                <a:off x="3331958" y="3384700"/>
                <a:ext cx="819889" cy="2364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Grafik 21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7230" y="2913104"/>
                <a:ext cx="218080" cy="204900"/>
              </a:xfrm>
              <a:prstGeom prst="rect">
                <a:avLst/>
              </a:prstGeom>
            </p:spPr>
          </p:pic>
          <p:pic>
            <p:nvPicPr>
              <p:cNvPr id="24" name="Grafik 23"/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11383" y="3200849"/>
                <a:ext cx="443827" cy="180000"/>
              </a:xfrm>
              <a:prstGeom prst="rect">
                <a:avLst/>
              </a:prstGeom>
            </p:spPr>
          </p:pic>
          <p:pic>
            <p:nvPicPr>
              <p:cNvPr id="25" name="Grafik 2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31811" y="4346447"/>
                <a:ext cx="696514" cy="150453"/>
              </a:xfrm>
              <a:prstGeom prst="rect">
                <a:avLst/>
              </a:prstGeom>
            </p:spPr>
          </p:pic>
          <p:pic>
            <p:nvPicPr>
              <p:cNvPr id="26" name="Grafik 2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61529" y="4392382"/>
                <a:ext cx="306799" cy="181364"/>
              </a:xfrm>
              <a:prstGeom prst="rect">
                <a:avLst/>
              </a:prstGeom>
            </p:spPr>
          </p:pic>
          <p:pic>
            <p:nvPicPr>
              <p:cNvPr id="27" name="Grafik 26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35957" y="3716641"/>
                <a:ext cx="567488" cy="134470"/>
              </a:xfrm>
              <a:prstGeom prst="rect">
                <a:avLst/>
              </a:prstGeom>
            </p:spPr>
          </p:pic>
          <p:pic>
            <p:nvPicPr>
              <p:cNvPr id="28" name="Picture 216" descr="C:\Users\U10G1CW\AppData\Local\Microsoft\Windows\Temporary Internet Files\Content.Outlook\CF0VWQ1Z\Oversea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7014" y="3931128"/>
                <a:ext cx="627241" cy="2237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Grafik 28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09945" y="3088580"/>
                <a:ext cx="538484" cy="211070"/>
              </a:xfrm>
              <a:prstGeom prst="rect">
                <a:avLst/>
              </a:prstGeom>
            </p:spPr>
          </p:pic>
          <p:pic>
            <p:nvPicPr>
              <p:cNvPr id="30" name="Grafik 2" descr="image001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9092" y="3433523"/>
                <a:ext cx="730165" cy="219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Grafik 30"/>
              <p:cNvPicPr>
                <a:picLocks noChangeAspect="1"/>
              </p:cNvPicPr>
              <p:nvPr/>
            </p:nvPicPr>
            <p:blipFill>
              <a:blip r:embed="rId1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06932" y="2411833"/>
                <a:ext cx="905047" cy="246832"/>
              </a:xfrm>
              <a:prstGeom prst="rect">
                <a:avLst/>
              </a:prstGeom>
            </p:spPr>
          </p:pic>
          <p:pic>
            <p:nvPicPr>
              <p:cNvPr id="32" name="Grafik 31"/>
              <p:cNvPicPr>
                <a:picLocks noChangeAspect="1"/>
              </p:cNvPicPr>
              <p:nvPr/>
            </p:nvPicPr>
            <p:blipFill>
              <a:blip r:embed="rId1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89015" y="2786121"/>
                <a:ext cx="599085" cy="206690"/>
              </a:xfrm>
              <a:prstGeom prst="rect">
                <a:avLst/>
              </a:prstGeom>
            </p:spPr>
          </p:pic>
          <p:pic>
            <p:nvPicPr>
              <p:cNvPr id="33" name="Grafik 32"/>
              <p:cNvPicPr>
                <a:picLocks noChangeAspect="1"/>
              </p:cNvPicPr>
              <p:nvPr/>
            </p:nvPicPr>
            <p:blipFill>
              <a:blip r:embed="rId1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41870" y="4125619"/>
                <a:ext cx="559963" cy="212400"/>
              </a:xfrm>
              <a:prstGeom prst="rect">
                <a:avLst/>
              </a:prstGeom>
            </p:spPr>
          </p:pic>
          <p:pic>
            <p:nvPicPr>
              <p:cNvPr id="34" name="Grafik 33"/>
              <p:cNvPicPr>
                <a:picLocks noChangeAspect="1"/>
              </p:cNvPicPr>
              <p:nvPr/>
            </p:nvPicPr>
            <p:blipFill>
              <a:blip r:embed="rId20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88" y="4138664"/>
                <a:ext cx="519654" cy="199354"/>
              </a:xfrm>
              <a:prstGeom prst="rect">
                <a:avLst/>
              </a:prstGeom>
            </p:spPr>
          </p:pic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21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22082" y="4621358"/>
                <a:ext cx="726577" cy="726577"/>
              </a:xfrm>
              <a:prstGeom prst="rect">
                <a:avLst/>
              </a:prstGeom>
            </p:spPr>
          </p:pic>
        </p:grpSp>
        <p:sp>
          <p:nvSpPr>
            <p:cNvPr id="19" name="Rechteck 18"/>
            <p:cNvSpPr/>
            <p:nvPr/>
          </p:nvSpPr>
          <p:spPr bwMode="auto">
            <a:xfrm>
              <a:off x="8840831" y="3345982"/>
              <a:ext cx="1006536" cy="25177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 sz="1125"/>
            </a:p>
          </p:txBody>
        </p:sp>
      </p:grpSp>
      <p:sp>
        <p:nvSpPr>
          <p:cNvPr id="73" name="Inhaltsplatzhalter 1"/>
          <p:cNvSpPr txBox="1">
            <a:spLocks/>
          </p:cNvSpPr>
          <p:nvPr/>
        </p:nvSpPr>
        <p:spPr>
          <a:xfrm>
            <a:off x="395288" y="1015982"/>
            <a:ext cx="8353425" cy="336722"/>
          </a:xfrm>
          <a:prstGeom prst="rect">
            <a:avLst/>
          </a:prstGeom>
          <a:solidFill>
            <a:schemeClr val="tx2"/>
          </a:solidFill>
        </p:spPr>
        <p:txBody>
          <a:bodyPr wrap="square" lIns="81000" tIns="54001" rIns="27000" bIns="54001" anchor="ctr">
            <a:noAutofit/>
          </a:bodyPr>
          <a:lstStyle>
            <a:lvl1pPr marL="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marR="0" indent="-1980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5288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425" marR="0" indent="-2095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8B8B8B"/>
              </a:buClr>
              <a:buSzPct val="10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marR="0" indent="-1968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C2C2C2"/>
              </a:buClr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685793">
              <a:spcBef>
                <a:spcPts val="0"/>
              </a:spcBef>
              <a:buNone/>
              <a:tabLst>
                <a:tab pos="335753" algn="l"/>
              </a:tabLst>
            </a:pPr>
            <a:r>
              <a:rPr lang="en-US" sz="1050" cap="all">
                <a:solidFill>
                  <a:srgbClr val="000000"/>
                </a:solidFill>
                <a:latin typeface="Arial Black"/>
              </a:rPr>
              <a:t>GROWTH FOCUS on Parcel &amp; LOGISTICS Division</a:t>
            </a:r>
          </a:p>
        </p:txBody>
      </p:sp>
      <p:pic>
        <p:nvPicPr>
          <p:cNvPr id="71" name="Picture 2" descr="https://www.daktela.com/wp-content/uploads/2016/08/logo-intime-259x200.png">
            <a:extLst>
              <a:ext uri="{FF2B5EF4-FFF2-40B4-BE49-F238E27FC236}">
                <a16:creationId xmlns:a16="http://schemas.microsoft.com/office/drawing/2014/main" id="{4252950F-A06E-441A-B936-A655AE504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1174" y="2226537"/>
            <a:ext cx="467799" cy="36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Titel 5">
            <a:extLst>
              <a:ext uri="{FF2B5EF4-FFF2-40B4-BE49-F238E27FC236}">
                <a16:creationId xmlns:a16="http://schemas.microsoft.com/office/drawing/2014/main" id="{ACDD141B-01F4-4E9E-8FAB-3D2769B7D130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/>
              <a:t>Strong Presence in Eastern Europe</a:t>
            </a:r>
            <a:endParaRPr lang="de-AT" sz="1600"/>
          </a:p>
        </p:txBody>
      </p:sp>
      <p:sp>
        <p:nvSpPr>
          <p:cNvPr id="72" name="Titel 5">
            <a:extLst>
              <a:ext uri="{FF2B5EF4-FFF2-40B4-BE49-F238E27FC236}">
                <a16:creationId xmlns:a16="http://schemas.microsoft.com/office/drawing/2014/main" id="{E3E31650-F77D-47AB-AADA-A9B24AE292E3}"/>
              </a:ext>
            </a:extLst>
          </p:cNvPr>
          <p:cNvSpPr txBox="1">
            <a:spLocks/>
          </p:cNvSpPr>
          <p:nvPr/>
        </p:nvSpPr>
        <p:spPr>
          <a:xfrm>
            <a:off x="395289" y="138190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AT"/>
          </a:p>
        </p:txBody>
      </p:sp>
      <p:sp>
        <p:nvSpPr>
          <p:cNvPr id="74" name="Titel 5">
            <a:extLst>
              <a:ext uri="{FF2B5EF4-FFF2-40B4-BE49-F238E27FC236}">
                <a16:creationId xmlns:a16="http://schemas.microsoft.com/office/drawing/2014/main" id="{53E1539C-D021-4765-9E46-CF3567ECA393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Overview: POST AG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75A1DF1-B189-49DC-B229-D392EE8D139A}"/>
              </a:ext>
            </a:extLst>
          </p:cNvPr>
          <p:cNvGrpSpPr/>
          <p:nvPr/>
        </p:nvGrpSpPr>
        <p:grpSpPr>
          <a:xfrm>
            <a:off x="444554" y="2697830"/>
            <a:ext cx="2601822" cy="1529683"/>
            <a:chOff x="444554" y="2697830"/>
            <a:chExt cx="2601822" cy="1529683"/>
          </a:xfrm>
        </p:grpSpPr>
        <p:sp>
          <p:nvSpPr>
            <p:cNvPr id="82" name="Sprechblase: rechteckig 81">
              <a:extLst>
                <a:ext uri="{FF2B5EF4-FFF2-40B4-BE49-F238E27FC236}">
                  <a16:creationId xmlns:a16="http://schemas.microsoft.com/office/drawing/2014/main" id="{7667A134-8974-4566-B932-586701E7EBF2}"/>
                </a:ext>
              </a:extLst>
            </p:cNvPr>
            <p:cNvSpPr/>
            <p:nvPr/>
          </p:nvSpPr>
          <p:spPr bwMode="auto">
            <a:xfrm>
              <a:off x="444554" y="2697830"/>
              <a:ext cx="2601822" cy="1529683"/>
            </a:xfrm>
            <a:prstGeom prst="wedgeRectCallout">
              <a:avLst>
                <a:gd name="adj1" fmla="val 82291"/>
                <a:gd name="adj2" fmla="val -31248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wrap="none" rtlCol="0" anchor="ctr"/>
            <a:lstStyle/>
            <a:p>
              <a:pPr algn="ctr"/>
              <a:endParaRPr lang="de-AT"/>
            </a:p>
          </p:txBody>
        </p:sp>
        <p:pic>
          <p:nvPicPr>
            <p:cNvPr id="7" name="Grafik 6" descr="Ein Bild, das Berg, draußen, Baum, Himmel enthält.&#10;&#10;Mit sehr hoher Zuverlässigkeit generierte Beschreibung">
              <a:extLst>
                <a:ext uri="{FF2B5EF4-FFF2-40B4-BE49-F238E27FC236}">
                  <a16:creationId xmlns:a16="http://schemas.microsoft.com/office/drawing/2014/main" id="{82BF7D5D-69F6-4E5D-A4E9-4D5D1BC4D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74993" y="2726395"/>
              <a:ext cx="2540944" cy="1472553"/>
            </a:xfrm>
            <a:prstGeom prst="rect">
              <a:avLst/>
            </a:prstGeom>
          </p:spPr>
        </p:pic>
      </p:grpSp>
      <p:sp>
        <p:nvSpPr>
          <p:cNvPr id="78" name="Sprechblase: rechteckig 77">
            <a:extLst>
              <a:ext uri="{FF2B5EF4-FFF2-40B4-BE49-F238E27FC236}">
                <a16:creationId xmlns:a16="http://schemas.microsoft.com/office/drawing/2014/main" id="{4AF5F271-B289-4610-BF82-293C97EFAEA1}"/>
              </a:ext>
            </a:extLst>
          </p:cNvPr>
          <p:cNvSpPr/>
          <p:nvPr/>
        </p:nvSpPr>
        <p:spPr bwMode="auto">
          <a:xfrm>
            <a:off x="2457679" y="3752733"/>
            <a:ext cx="1833548" cy="483221"/>
          </a:xfrm>
          <a:prstGeom prst="wedgeRectCallout">
            <a:avLst>
              <a:gd name="adj1" fmla="val -58004"/>
              <a:gd name="adj2" fmla="val -75705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/>
              <a:t>I am from </a:t>
            </a:r>
            <a:r>
              <a:rPr lang="en-AU" err="1"/>
              <a:t>Lienz</a:t>
            </a:r>
            <a:endParaRPr lang="en-AU"/>
          </a:p>
        </p:txBody>
      </p:sp>
      <p:sp>
        <p:nvSpPr>
          <p:cNvPr id="81" name="Sprechblase: rechteckig 80">
            <a:extLst>
              <a:ext uri="{FF2B5EF4-FFF2-40B4-BE49-F238E27FC236}">
                <a16:creationId xmlns:a16="http://schemas.microsoft.com/office/drawing/2014/main" id="{E46EA6FE-08C7-4DE6-89C4-176A4A095EB3}"/>
              </a:ext>
            </a:extLst>
          </p:cNvPr>
          <p:cNvSpPr/>
          <p:nvPr/>
        </p:nvSpPr>
        <p:spPr bwMode="auto">
          <a:xfrm>
            <a:off x="570675" y="4294250"/>
            <a:ext cx="2501848" cy="483221"/>
          </a:xfrm>
          <a:prstGeom prst="wedgeRectCallout">
            <a:avLst>
              <a:gd name="adj1" fmla="val -4260"/>
              <a:gd name="adj2" fmla="val -96731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/>
              <a:t>Please pardon my accent</a:t>
            </a:r>
            <a:r>
              <a:rPr lang="en-AU">
                <a:sym typeface="Wingdings" panose="05000000000000000000" pitchFamily="2" charset="2"/>
              </a:rPr>
              <a:t></a:t>
            </a:r>
            <a:endParaRPr lang="en-AU"/>
          </a:p>
        </p:txBody>
      </p:sp>
      <p:sp>
        <p:nvSpPr>
          <p:cNvPr id="84" name="Sprechblase: rechteckig 83">
            <a:extLst>
              <a:ext uri="{FF2B5EF4-FFF2-40B4-BE49-F238E27FC236}">
                <a16:creationId xmlns:a16="http://schemas.microsoft.com/office/drawing/2014/main" id="{F2BD01D3-8B29-492F-948D-04A33C5FAB13}"/>
              </a:ext>
            </a:extLst>
          </p:cNvPr>
          <p:cNvSpPr/>
          <p:nvPr/>
        </p:nvSpPr>
        <p:spPr bwMode="auto">
          <a:xfrm>
            <a:off x="5274653" y="1430069"/>
            <a:ext cx="2601822" cy="1529683"/>
          </a:xfrm>
          <a:prstGeom prst="wedgeRectCallout">
            <a:avLst>
              <a:gd name="adj1" fmla="val -94896"/>
              <a:gd name="adj2" fmla="val 54059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endParaRPr lang="de-AT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C77730-C59E-45DE-8A33-E0631131F1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334926" y="1457325"/>
            <a:ext cx="2504149" cy="147345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03E8702-9BBC-451B-970C-E8395E03937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334926" y="1458493"/>
            <a:ext cx="2504149" cy="1439032"/>
          </a:xfrm>
          <a:prstGeom prst="rect">
            <a:avLst/>
          </a:prstGeom>
        </p:spPr>
      </p:pic>
      <p:sp>
        <p:nvSpPr>
          <p:cNvPr id="83" name="Sprechblase: rechteckig 82">
            <a:extLst>
              <a:ext uri="{FF2B5EF4-FFF2-40B4-BE49-F238E27FC236}">
                <a16:creationId xmlns:a16="http://schemas.microsoft.com/office/drawing/2014/main" id="{29DC74D5-F2F7-459A-8D48-48EB554D643B}"/>
              </a:ext>
            </a:extLst>
          </p:cNvPr>
          <p:cNvSpPr/>
          <p:nvPr/>
        </p:nvSpPr>
        <p:spPr bwMode="auto">
          <a:xfrm>
            <a:off x="6206480" y="2754294"/>
            <a:ext cx="1833548" cy="483221"/>
          </a:xfrm>
          <a:prstGeom prst="wedgeRectCallout">
            <a:avLst>
              <a:gd name="adj1" fmla="val -58004"/>
              <a:gd name="adj2" fmla="val -75705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wrap="none" rtlCol="0" anchor="ctr"/>
          <a:lstStyle/>
          <a:p>
            <a:pPr algn="ctr"/>
            <a:r>
              <a:rPr lang="en-AU"/>
              <a:t>Thomas lives here </a:t>
            </a:r>
          </a:p>
          <a:p>
            <a:pPr algn="ctr"/>
            <a:r>
              <a:rPr lang="en-AU"/>
              <a:t>(Villach:)</a:t>
            </a:r>
          </a:p>
        </p:txBody>
      </p:sp>
    </p:spTree>
    <p:extLst>
      <p:ext uri="{BB962C8B-B14F-4D97-AF65-F5344CB8AC3E}">
        <p14:creationId xmlns:p14="http://schemas.microsoft.com/office/powerpoint/2010/main" val="2313246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3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31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81" grpId="0" animBg="1"/>
      <p:bldP spid="84" grpId="0" animBg="1"/>
      <p:bldP spid="8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Our Team</a:t>
            </a:r>
          </a:p>
        </p:txBody>
      </p:sp>
      <p:cxnSp>
        <p:nvCxnSpPr>
          <p:cNvPr id="120" name="Straight Connector 97">
            <a:extLst>
              <a:ext uri="{FF2B5EF4-FFF2-40B4-BE49-F238E27FC236}">
                <a16:creationId xmlns:a16="http://schemas.microsoft.com/office/drawing/2014/main" id="{696C98D9-7B24-4A29-B61E-B31919C5D8E4}"/>
              </a:ext>
            </a:extLst>
          </p:cNvPr>
          <p:cNvCxnSpPr/>
          <p:nvPr/>
        </p:nvCxnSpPr>
        <p:spPr>
          <a:xfrm>
            <a:off x="2555048" y="1128937"/>
            <a:ext cx="0" cy="30985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98">
            <a:extLst>
              <a:ext uri="{FF2B5EF4-FFF2-40B4-BE49-F238E27FC236}">
                <a16:creationId xmlns:a16="http://schemas.microsoft.com/office/drawing/2014/main" id="{A3B5A17C-95CE-4A9A-97EA-174D412003D7}"/>
              </a:ext>
            </a:extLst>
          </p:cNvPr>
          <p:cNvCxnSpPr/>
          <p:nvPr/>
        </p:nvCxnSpPr>
        <p:spPr>
          <a:xfrm>
            <a:off x="4571999" y="1128937"/>
            <a:ext cx="0" cy="30985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99">
            <a:extLst>
              <a:ext uri="{FF2B5EF4-FFF2-40B4-BE49-F238E27FC236}">
                <a16:creationId xmlns:a16="http://schemas.microsoft.com/office/drawing/2014/main" id="{D6CE391A-7A80-4D5F-BC2E-D138D955CF7D}"/>
              </a:ext>
            </a:extLst>
          </p:cNvPr>
          <p:cNvCxnSpPr/>
          <p:nvPr/>
        </p:nvCxnSpPr>
        <p:spPr>
          <a:xfrm>
            <a:off x="6573727" y="1128937"/>
            <a:ext cx="0" cy="30985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7">
            <a:extLst>
              <a:ext uri="{FF2B5EF4-FFF2-40B4-BE49-F238E27FC236}">
                <a16:creationId xmlns:a16="http://schemas.microsoft.com/office/drawing/2014/main" id="{B19A8ADF-91F5-4F8D-987D-18641F78C3BA}"/>
              </a:ext>
            </a:extLst>
          </p:cNvPr>
          <p:cNvGrpSpPr/>
          <p:nvPr/>
        </p:nvGrpSpPr>
        <p:grpSpPr>
          <a:xfrm>
            <a:off x="594807" y="2759067"/>
            <a:ext cx="1808868" cy="1008719"/>
            <a:chOff x="1100715" y="4324973"/>
            <a:chExt cx="2263719" cy="1262366"/>
          </a:xfrm>
        </p:grpSpPr>
        <p:sp>
          <p:nvSpPr>
            <p:cNvPr id="124" name="TextBox 11">
              <a:extLst>
                <a:ext uri="{FF2B5EF4-FFF2-40B4-BE49-F238E27FC236}">
                  <a16:creationId xmlns:a16="http://schemas.microsoft.com/office/drawing/2014/main" id="{1BA58C79-CA7A-4859-A725-195439FEDC97}"/>
                </a:ext>
              </a:extLst>
            </p:cNvPr>
            <p:cNvSpPr txBox="1"/>
            <p:nvPr/>
          </p:nvSpPr>
          <p:spPr>
            <a:xfrm>
              <a:off x="1245838" y="4324973"/>
              <a:ext cx="2064667" cy="3466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1200" b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Christoph Bodner</a:t>
              </a:r>
              <a:endParaRPr lang="id-ID" sz="1200" b="1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25" name="TextBox 63">
              <a:extLst>
                <a:ext uri="{FF2B5EF4-FFF2-40B4-BE49-F238E27FC236}">
                  <a16:creationId xmlns:a16="http://schemas.microsoft.com/office/drawing/2014/main" id="{9714680B-58D4-4097-B1AA-60B57517B38B}"/>
                </a:ext>
              </a:extLst>
            </p:cNvPr>
            <p:cNvSpPr txBox="1"/>
            <p:nvPr/>
          </p:nvSpPr>
          <p:spPr>
            <a:xfrm>
              <a:off x="1536725" y="4626730"/>
              <a:ext cx="1482900" cy="288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900">
                  <a:solidFill>
                    <a:schemeClr val="bg1">
                      <a:lumMod val="65000"/>
                    </a:schemeClr>
                  </a:solidFill>
                </a:rPr>
                <a:t>Lead Data Scientist</a:t>
              </a:r>
              <a:endParaRPr lang="id-ID" sz="90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27" name="Rectangle 30">
              <a:extLst>
                <a:ext uri="{FF2B5EF4-FFF2-40B4-BE49-F238E27FC236}">
                  <a16:creationId xmlns:a16="http://schemas.microsoft.com/office/drawing/2014/main" id="{0E1E4BD4-E70B-4460-AF92-B9F50DD058F2}"/>
                </a:ext>
              </a:extLst>
            </p:cNvPr>
            <p:cNvSpPr/>
            <p:nvPr/>
          </p:nvSpPr>
          <p:spPr>
            <a:xfrm>
              <a:off x="1100715" y="5086619"/>
              <a:ext cx="2263719" cy="5007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Quantitative Finance (WU)</a:t>
              </a:r>
            </a:p>
            <a:p>
              <a:pPr algn="ctr"/>
              <a:r>
                <a:rPr lang="de-AT" sz="1000" err="1">
                  <a:solidFill>
                    <a:schemeClr val="bg1">
                      <a:lumMod val="65000"/>
                    </a:schemeClr>
                  </a:solidFill>
                </a:rPr>
                <a:t>Prev</a:t>
              </a:r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.: KPMG</a:t>
              </a:r>
              <a:endParaRPr lang="id-ID" sz="10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128" name="Group 11">
            <a:extLst>
              <a:ext uri="{FF2B5EF4-FFF2-40B4-BE49-F238E27FC236}">
                <a16:creationId xmlns:a16="http://schemas.microsoft.com/office/drawing/2014/main" id="{9F3673D4-D8DB-4F4B-B481-E6141615D1A1}"/>
              </a:ext>
            </a:extLst>
          </p:cNvPr>
          <p:cNvGrpSpPr/>
          <p:nvPr/>
        </p:nvGrpSpPr>
        <p:grpSpPr>
          <a:xfrm>
            <a:off x="2675653" y="2759065"/>
            <a:ext cx="1808870" cy="1008718"/>
            <a:chOff x="3704798" y="4324973"/>
            <a:chExt cx="2263719" cy="1262365"/>
          </a:xfrm>
        </p:grpSpPr>
        <p:sp>
          <p:nvSpPr>
            <p:cNvPr id="129" name="TextBox 57">
              <a:extLst>
                <a:ext uri="{FF2B5EF4-FFF2-40B4-BE49-F238E27FC236}">
                  <a16:creationId xmlns:a16="http://schemas.microsoft.com/office/drawing/2014/main" id="{9ADB7536-5E1D-4A74-9B1D-FEE73369BDBC}"/>
                </a:ext>
              </a:extLst>
            </p:cNvPr>
            <p:cNvSpPr txBox="1"/>
            <p:nvPr/>
          </p:nvSpPr>
          <p:spPr>
            <a:xfrm>
              <a:off x="4031099" y="4324973"/>
              <a:ext cx="1547095" cy="3466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ctr" defTabSz="914332">
                <a:defRPr sz="1200" b="1">
                  <a:solidFill>
                    <a:schemeClr val="bg1">
                      <a:lumMod val="50000"/>
                    </a:schemeClr>
                  </a:solidFill>
                  <a:latin typeface="+mj-lt"/>
                </a:defRPr>
              </a:lvl1pPr>
              <a:lvl2pPr marL="457167" defTabSz="914332">
                <a:defRPr sz="1800"/>
              </a:lvl2pPr>
              <a:lvl3pPr marL="914332" defTabSz="914332">
                <a:defRPr sz="1800"/>
              </a:lvl3pPr>
              <a:lvl4pPr marL="1371498" defTabSz="914332">
                <a:defRPr sz="1800"/>
              </a:lvl4pPr>
              <a:lvl5pPr marL="1828664" defTabSz="914332">
                <a:defRPr sz="1800"/>
              </a:lvl5pPr>
              <a:lvl6pPr marL="2285830" defTabSz="914332">
                <a:defRPr sz="1800"/>
              </a:lvl6pPr>
              <a:lvl7pPr marL="2742994" defTabSz="914332">
                <a:defRPr sz="1800"/>
              </a:lvl7pPr>
              <a:lvl8pPr marL="3200160" defTabSz="914332">
                <a:defRPr sz="1800"/>
              </a:lvl8pPr>
              <a:lvl9pPr marL="3657327" defTabSz="914332">
                <a:defRPr sz="1800"/>
              </a:lvl9pPr>
            </a:lstStyle>
            <a:p>
              <a:r>
                <a:rPr lang="de-AT"/>
                <a:t>Thomas Laber</a:t>
              </a:r>
              <a:endParaRPr lang="id-ID"/>
            </a:p>
          </p:txBody>
        </p:sp>
        <p:sp>
          <p:nvSpPr>
            <p:cNvPr id="130" name="TextBox 64">
              <a:extLst>
                <a:ext uri="{FF2B5EF4-FFF2-40B4-BE49-F238E27FC236}">
                  <a16:creationId xmlns:a16="http://schemas.microsoft.com/office/drawing/2014/main" id="{EFA6BE14-647C-4D49-B957-CABB4CD07D90}"/>
                </a:ext>
              </a:extLst>
            </p:cNvPr>
            <p:cNvSpPr txBox="1"/>
            <p:nvPr/>
          </p:nvSpPr>
          <p:spPr>
            <a:xfrm>
              <a:off x="4015062" y="4626730"/>
              <a:ext cx="1579193" cy="288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900">
                  <a:solidFill>
                    <a:schemeClr val="bg1">
                      <a:lumMod val="65000"/>
                    </a:schemeClr>
                  </a:solidFill>
                </a:rPr>
                <a:t>Senior Data Scientist</a:t>
              </a:r>
              <a:endParaRPr lang="id-ID" sz="90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2" name="Rectangle 31">
              <a:extLst>
                <a:ext uri="{FF2B5EF4-FFF2-40B4-BE49-F238E27FC236}">
                  <a16:creationId xmlns:a16="http://schemas.microsoft.com/office/drawing/2014/main" id="{7EF4BE25-D435-4141-8530-C3A35DB498E5}"/>
                </a:ext>
              </a:extLst>
            </p:cNvPr>
            <p:cNvSpPr/>
            <p:nvPr/>
          </p:nvSpPr>
          <p:spPr>
            <a:xfrm>
              <a:off x="3704798" y="5086618"/>
              <a:ext cx="2263719" cy="5007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Business </a:t>
              </a:r>
              <a:r>
                <a:rPr lang="de-AT" sz="1000" err="1">
                  <a:solidFill>
                    <a:schemeClr val="bg1">
                      <a:lumMod val="65000"/>
                    </a:schemeClr>
                  </a:solidFill>
                </a:rPr>
                <a:t>Informatics</a:t>
              </a:r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 (TU)</a:t>
              </a:r>
            </a:p>
            <a:p>
              <a:pPr algn="ctr"/>
              <a:r>
                <a:rPr lang="de-AT" sz="1000" err="1">
                  <a:solidFill>
                    <a:schemeClr val="bg1">
                      <a:lumMod val="65000"/>
                    </a:schemeClr>
                  </a:solidFill>
                </a:rPr>
                <a:t>Prev</a:t>
              </a:r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.: Accenture </a:t>
              </a:r>
              <a:endParaRPr lang="id-ID" sz="10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133" name="Group 14">
            <a:extLst>
              <a:ext uri="{FF2B5EF4-FFF2-40B4-BE49-F238E27FC236}">
                <a16:creationId xmlns:a16="http://schemas.microsoft.com/office/drawing/2014/main" id="{807E219B-B4E0-4843-BF00-77063BE16EC9}"/>
              </a:ext>
            </a:extLst>
          </p:cNvPr>
          <p:cNvGrpSpPr/>
          <p:nvPr/>
        </p:nvGrpSpPr>
        <p:grpSpPr>
          <a:xfrm>
            <a:off x="4656127" y="2759065"/>
            <a:ext cx="1983828" cy="854828"/>
            <a:chOff x="6183280" y="4324973"/>
            <a:chExt cx="2482674" cy="1069779"/>
          </a:xfrm>
        </p:grpSpPr>
        <p:sp>
          <p:nvSpPr>
            <p:cNvPr id="134" name="TextBox 58">
              <a:extLst>
                <a:ext uri="{FF2B5EF4-FFF2-40B4-BE49-F238E27FC236}">
                  <a16:creationId xmlns:a16="http://schemas.microsoft.com/office/drawing/2014/main" id="{2E3A8F55-5FDA-4662-AC3A-40207A8D29BA}"/>
                </a:ext>
              </a:extLst>
            </p:cNvPr>
            <p:cNvSpPr txBox="1"/>
            <p:nvPr/>
          </p:nvSpPr>
          <p:spPr>
            <a:xfrm>
              <a:off x="6438348" y="4324973"/>
              <a:ext cx="1760062" cy="3466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1200" b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Martin </a:t>
              </a:r>
              <a:r>
                <a:rPr lang="de-AT" sz="1200" b="1" err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Blöschl</a:t>
              </a:r>
              <a:endParaRPr lang="id-ID" sz="1200" b="1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35" name="TextBox 67">
              <a:extLst>
                <a:ext uri="{FF2B5EF4-FFF2-40B4-BE49-F238E27FC236}">
                  <a16:creationId xmlns:a16="http://schemas.microsoft.com/office/drawing/2014/main" id="{B41C49E2-4E8D-41D0-A565-5F2BD2BF8A8F}"/>
                </a:ext>
              </a:extLst>
            </p:cNvPr>
            <p:cNvSpPr txBox="1"/>
            <p:nvPr/>
          </p:nvSpPr>
          <p:spPr>
            <a:xfrm>
              <a:off x="6540822" y="4626730"/>
              <a:ext cx="1555119" cy="288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900">
                  <a:solidFill>
                    <a:schemeClr val="bg1">
                      <a:lumMod val="65000"/>
                    </a:schemeClr>
                  </a:solidFill>
                </a:rPr>
                <a:t>Junior Data Scientist</a:t>
              </a:r>
              <a:endParaRPr lang="id-ID" sz="90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7" name="Rectangle 32">
              <a:extLst>
                <a:ext uri="{FF2B5EF4-FFF2-40B4-BE49-F238E27FC236}">
                  <a16:creationId xmlns:a16="http://schemas.microsoft.com/office/drawing/2014/main" id="{9F780AB8-ECA1-4B38-88E0-3B9773D53F37}"/>
                </a:ext>
              </a:extLst>
            </p:cNvPr>
            <p:cNvSpPr/>
            <p:nvPr/>
          </p:nvSpPr>
          <p:spPr>
            <a:xfrm>
              <a:off x="6183280" y="5086617"/>
              <a:ext cx="2482674" cy="3081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Computational </a:t>
              </a:r>
              <a:r>
                <a:rPr lang="de-AT" sz="1000" err="1">
                  <a:solidFill>
                    <a:schemeClr val="bg1">
                      <a:lumMod val="65000"/>
                    </a:schemeClr>
                  </a:solidFill>
                </a:rPr>
                <a:t>Intelligence</a:t>
              </a:r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 (TU)</a:t>
              </a:r>
              <a:endParaRPr lang="id-ID" sz="10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138" name="Group 15">
            <a:extLst>
              <a:ext uri="{FF2B5EF4-FFF2-40B4-BE49-F238E27FC236}">
                <a16:creationId xmlns:a16="http://schemas.microsoft.com/office/drawing/2014/main" id="{9391688E-7507-41CE-917E-646EC5F3DBD7}"/>
              </a:ext>
            </a:extLst>
          </p:cNvPr>
          <p:cNvGrpSpPr/>
          <p:nvPr/>
        </p:nvGrpSpPr>
        <p:grpSpPr>
          <a:xfrm>
            <a:off x="6740323" y="2759064"/>
            <a:ext cx="1808869" cy="854829"/>
            <a:chOff x="8791558" y="4324973"/>
            <a:chExt cx="2263720" cy="1069780"/>
          </a:xfrm>
        </p:grpSpPr>
        <p:sp>
          <p:nvSpPr>
            <p:cNvPr id="139" name="TextBox 59">
              <a:extLst>
                <a:ext uri="{FF2B5EF4-FFF2-40B4-BE49-F238E27FC236}">
                  <a16:creationId xmlns:a16="http://schemas.microsoft.com/office/drawing/2014/main" id="{BBAA6E57-BF7B-451A-97CA-86CA3139793E}"/>
                </a:ext>
              </a:extLst>
            </p:cNvPr>
            <p:cNvSpPr txBox="1"/>
            <p:nvPr/>
          </p:nvSpPr>
          <p:spPr>
            <a:xfrm>
              <a:off x="9055515" y="4324973"/>
              <a:ext cx="1598129" cy="3466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1200" b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Raphael </a:t>
              </a:r>
              <a:r>
                <a:rPr lang="de-AT" sz="1200" b="1" err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Pesl</a:t>
              </a:r>
              <a:endParaRPr lang="id-ID" sz="1200" b="1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40" name="TextBox 68">
              <a:extLst>
                <a:ext uri="{FF2B5EF4-FFF2-40B4-BE49-F238E27FC236}">
                  <a16:creationId xmlns:a16="http://schemas.microsoft.com/office/drawing/2014/main" id="{9A5AACA9-26A6-42DB-AB02-FAE42C871CEA}"/>
                </a:ext>
              </a:extLst>
            </p:cNvPr>
            <p:cNvSpPr txBox="1"/>
            <p:nvPr/>
          </p:nvSpPr>
          <p:spPr>
            <a:xfrm>
              <a:off x="9077021" y="4626730"/>
              <a:ext cx="1555119" cy="288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id-ID"/>
              </a:defPPr>
              <a:lvl1pPr marL="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2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8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3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4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60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7" algn="l" defTabSz="91433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AT" sz="900">
                  <a:solidFill>
                    <a:schemeClr val="bg1">
                      <a:lumMod val="65000"/>
                    </a:schemeClr>
                  </a:solidFill>
                </a:rPr>
                <a:t>Junior Data Scientist</a:t>
              </a:r>
              <a:endParaRPr lang="id-ID" sz="90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42" name="Rectangle 33">
              <a:extLst>
                <a:ext uri="{FF2B5EF4-FFF2-40B4-BE49-F238E27FC236}">
                  <a16:creationId xmlns:a16="http://schemas.microsoft.com/office/drawing/2014/main" id="{CF1F3E0D-D88C-49CA-B63A-9A2F5C3A8A6A}"/>
                </a:ext>
              </a:extLst>
            </p:cNvPr>
            <p:cNvSpPr/>
            <p:nvPr/>
          </p:nvSpPr>
          <p:spPr>
            <a:xfrm>
              <a:off x="8791558" y="5086618"/>
              <a:ext cx="2263720" cy="3081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AT" sz="1000" err="1">
                  <a:solidFill>
                    <a:schemeClr val="bg1">
                      <a:lumMod val="65000"/>
                    </a:schemeClr>
                  </a:solidFill>
                </a:rPr>
                <a:t>Mathematics</a:t>
              </a:r>
              <a:r>
                <a:rPr lang="de-AT" sz="1000">
                  <a:solidFill>
                    <a:schemeClr val="bg1">
                      <a:lumMod val="65000"/>
                    </a:schemeClr>
                  </a:solidFill>
                </a:rPr>
                <a:t> (TU)</a:t>
              </a:r>
              <a:endParaRPr lang="id-ID" sz="10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147" name="Picture Placeholder 5">
            <a:extLst>
              <a:ext uri="{FF2B5EF4-FFF2-40B4-BE49-F238E27FC236}">
                <a16:creationId xmlns:a16="http://schemas.microsoft.com/office/drawing/2014/main" id="{5165436D-A8D3-4AED-A00A-DD9AEA6A3C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39159" y="1189195"/>
            <a:ext cx="1273385" cy="1273385"/>
          </a:xfrm>
          <a:prstGeom prst="ellipse">
            <a:avLst/>
          </a:prstGeom>
        </p:spPr>
      </p:pic>
      <p:pic>
        <p:nvPicPr>
          <p:cNvPr id="148" name="Picture Placeholder 5" descr="Cv1 Kopie.jpg">
            <a:extLst>
              <a:ext uri="{FF2B5EF4-FFF2-40B4-BE49-F238E27FC236}">
                <a16:creationId xmlns:a16="http://schemas.microsoft.com/office/drawing/2014/main" id="{B13A6466-D617-44AC-BE2E-F14F8A4DFA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3" r="7303"/>
          <a:stretch>
            <a:fillRect/>
          </a:stretch>
        </p:blipFill>
        <p:spPr>
          <a:xfrm>
            <a:off x="2871279" y="1188688"/>
            <a:ext cx="1273385" cy="1274400"/>
          </a:xfrm>
          <a:prstGeom prst="ellipse">
            <a:avLst/>
          </a:prstGeom>
        </p:spPr>
      </p:pic>
      <p:pic>
        <p:nvPicPr>
          <p:cNvPr id="149" name="Picture Placeholder 5">
            <a:extLst>
              <a:ext uri="{FF2B5EF4-FFF2-40B4-BE49-F238E27FC236}">
                <a16:creationId xmlns:a16="http://schemas.microsoft.com/office/drawing/2014/main" id="{FE0288D9-18A7-4D0B-9073-66732BCE54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4903399" y="1189195"/>
            <a:ext cx="1273385" cy="1273385"/>
          </a:xfrm>
          <a:prstGeom prst="ellipse">
            <a:avLst/>
          </a:prstGeom>
        </p:spPr>
      </p:pic>
      <p:pic>
        <p:nvPicPr>
          <p:cNvPr id="150" name="Picture Placeholder 5">
            <a:extLst>
              <a:ext uri="{FF2B5EF4-FFF2-40B4-BE49-F238E27FC236}">
                <a16:creationId xmlns:a16="http://schemas.microsoft.com/office/drawing/2014/main" id="{5DCC753D-1457-4D2D-8BD2-61139E9679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5520" y="1189195"/>
            <a:ext cx="1273385" cy="1273385"/>
          </a:xfrm>
          <a:prstGeom prst="ellipse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itel 5">
                <a:extLst>
                  <a:ext uri="{FF2B5EF4-FFF2-40B4-BE49-F238E27FC236}">
                    <a16:creationId xmlns:a16="http://schemas.microsoft.com/office/drawing/2014/main" id="{64B1802F-7242-48B9-959C-BF6DC1BEB06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5289" y="372666"/>
                <a:ext cx="7218342" cy="416837"/>
              </a:xfrm>
              <a:prstGeom prst="rect">
                <a:avLst/>
              </a:prstGeom>
            </p:spPr>
            <p:txBody>
              <a:bodyPr lIns="36000" tIns="0" anchor="b" anchorCtr="0">
                <a:noAutofit/>
              </a:bodyPr>
              <a:lstStyle>
                <a:lvl1pPr algn="l" defTabSz="389626" rtl="0" eaLnBrk="1" latinLnBrk="0" hangingPunct="1">
                  <a:lnSpc>
                    <a:spcPct val="80000"/>
                  </a:lnSpc>
                  <a:spcBef>
                    <a:spcPct val="0"/>
                  </a:spcBef>
                  <a:buNone/>
                  <a:defRPr sz="1650" b="0" kern="1200" cap="all" normalizeH="0" baseline="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sz="1600"/>
                  <a:t>People Who like </a:t>
                </a:r>
                <a14:m>
                  <m:oMath xmlns:m="http://schemas.openxmlformats.org/officeDocument/2006/math">
                    <m:r>
                      <a:rPr lang="el-GR" sz="1800" b="1" i="0" smtClean="0">
                        <a:latin typeface="Cambria Math" panose="02040503050406030204" pitchFamily="18" charset="0"/>
                      </a:rPr>
                      <m:t>𝛑</m:t>
                    </m:r>
                    <m:sSup>
                      <m:sSupPr>
                        <m:ctrlPr>
                          <a:rPr lang="en-US" sz="18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AT" sz="1800" b="1" i="0" smtClean="0">
                            <a:latin typeface="Cambria Math" panose="02040503050406030204" pitchFamily="18" charset="0"/>
                          </a:rPr>
                          <m:t>𝐳</m:t>
                        </m:r>
                      </m:e>
                      <m:sup>
                        <m:r>
                          <a:rPr lang="en-US" sz="1800" b="1" i="0" smtClean="0"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  <m:r>
                      <a:rPr lang="de-AT" sz="1800" b="1" i="0" smtClean="0">
                        <a:latin typeface="Cambria Math" panose="02040503050406030204" pitchFamily="18" charset="0"/>
                      </a:rPr>
                      <m:t>𝐚</m:t>
                    </m:r>
                  </m:oMath>
                </a14:m>
                <a:r>
                  <a:rPr lang="de-AT" sz="1600" b="1"/>
                  <a:t> in </a:t>
                </a:r>
                <a:r>
                  <a:rPr lang="en-AU" sz="1600" b="1"/>
                  <a:t>every</a:t>
                </a:r>
                <a:r>
                  <a:rPr lang="de-AT" sz="1600" b="1"/>
                  <a:t> form</a:t>
                </a:r>
              </a:p>
            </p:txBody>
          </p:sp>
        </mc:Choice>
        <mc:Fallback xmlns="">
          <p:sp>
            <p:nvSpPr>
              <p:cNvPr id="30" name="Titel 5">
                <a:extLst>
                  <a:ext uri="{FF2B5EF4-FFF2-40B4-BE49-F238E27FC236}">
                    <a16:creationId xmlns:a16="http://schemas.microsoft.com/office/drawing/2014/main" id="{64B1802F-7242-48B9-959C-BF6DC1BEB0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289" y="372666"/>
                <a:ext cx="7218342" cy="416837"/>
              </a:xfrm>
              <a:prstGeom prst="rect">
                <a:avLst/>
              </a:prstGeom>
              <a:blipFill>
                <a:blip r:embed="rId6"/>
                <a:stretch>
                  <a:fillRect l="-1267" b="-188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210836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389616"/>
            <a:fld id="{74F186D0-D616-FD44-ABDF-00C253D90924}" type="slidenum">
              <a:rPr lang="de-DE">
                <a:solidFill>
                  <a:srgbClr val="000000"/>
                </a:solidFill>
                <a:latin typeface="Arial"/>
              </a:rPr>
              <a:pPr defTabSz="389616"/>
              <a:t>7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Bild 9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931" y="4222739"/>
            <a:ext cx="600075" cy="871949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F52009D-B315-49E4-B417-ED1A6C137674}"/>
              </a:ext>
            </a:extLst>
          </p:cNvPr>
          <p:cNvCxnSpPr/>
          <p:nvPr/>
        </p:nvCxnSpPr>
        <p:spPr>
          <a:xfrm>
            <a:off x="251223" y="1757363"/>
            <a:ext cx="864155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0AE1A312-3717-4DA0-BC71-4894852EDF06}"/>
              </a:ext>
            </a:extLst>
          </p:cNvPr>
          <p:cNvSpPr txBox="1"/>
          <p:nvPr/>
        </p:nvSpPr>
        <p:spPr>
          <a:xfrm>
            <a:off x="422687" y="2057399"/>
            <a:ext cx="167759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/>
              <a:t>Topic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A5F031C-81D7-4D6B-AA36-15755B6842B5}"/>
              </a:ext>
            </a:extLst>
          </p:cNvPr>
          <p:cNvGrpSpPr/>
          <p:nvPr/>
        </p:nvGrpSpPr>
        <p:grpSpPr>
          <a:xfrm>
            <a:off x="1796032" y="1180282"/>
            <a:ext cx="2221200" cy="2346750"/>
            <a:chOff x="2171700" y="1180282"/>
            <a:chExt cx="2221200" cy="2346750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F0F53795-8436-4E51-B822-D82DFED5D179}"/>
                </a:ext>
              </a:extLst>
            </p:cNvPr>
            <p:cNvSpPr txBox="1"/>
            <p:nvPr/>
          </p:nvSpPr>
          <p:spPr>
            <a:xfrm>
              <a:off x="2171700" y="1180282"/>
              <a:ext cx="89296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1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A2597B59-C60C-43B1-9736-D5197BB463E1}"/>
                </a:ext>
              </a:extLst>
            </p:cNvPr>
            <p:cNvSpPr txBox="1"/>
            <p:nvPr/>
          </p:nvSpPr>
          <p:spPr>
            <a:xfrm>
              <a:off x="2171700" y="2057399"/>
              <a:ext cx="2221200" cy="1469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>
                  <a:solidFill>
                    <a:schemeClr val="bg1">
                      <a:lumMod val="50000"/>
                    </a:schemeClr>
                  </a:solidFill>
                </a:rPr>
                <a:t>Who we are</a:t>
              </a:r>
            </a:p>
            <a:p>
              <a:r>
                <a:rPr lang="en-GB" sz="700">
                  <a:solidFill>
                    <a:schemeClr val="bg1">
                      <a:lumMod val="50000"/>
                    </a:schemeClr>
                  </a:solidFill>
                </a:rPr>
                <a:t>(obligatory marketing stuff…)</a:t>
              </a: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US" sz="105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US" sz="1050">
                  <a:solidFill>
                    <a:schemeClr val="bg1">
                      <a:lumMod val="50000"/>
                    </a:schemeClr>
                  </a:solidFill>
                </a:rPr>
                <a:t>Data </a:t>
              </a:r>
              <a:r>
                <a:rPr lang="en-US" sz="1050" err="1">
                  <a:solidFill>
                    <a:schemeClr val="bg1">
                      <a:lumMod val="50000"/>
                    </a:schemeClr>
                  </a:solidFill>
                </a:rPr>
                <a:t>Science@Post</a:t>
              </a:r>
              <a:r>
                <a:rPr lang="en-US" sz="1050">
                  <a:solidFill>
                    <a:schemeClr val="bg1">
                      <a:lumMod val="50000"/>
                    </a:schemeClr>
                  </a:solidFill>
                </a:rPr>
                <a:t> AG:</a:t>
              </a:r>
            </a:p>
            <a:p>
              <a:pPr marL="171450" indent="-171450">
                <a:buFontTx/>
                <a:buChar char="-"/>
              </a:pPr>
              <a:r>
                <a:rPr lang="en-US" sz="1050">
                  <a:solidFill>
                    <a:schemeClr val="bg1">
                      <a:lumMod val="50000"/>
                    </a:schemeClr>
                  </a:solidFill>
                </a:rPr>
                <a:t>Overview: Post AG</a:t>
              </a:r>
            </a:p>
            <a:p>
              <a:pPr marL="171450" indent="-171450">
                <a:buFontTx/>
                <a:buChar char="-"/>
              </a:pPr>
              <a:r>
                <a:rPr lang="en-US" sz="1050">
                  <a:solidFill>
                    <a:schemeClr val="bg1">
                      <a:lumMod val="50000"/>
                    </a:schemeClr>
                  </a:solidFill>
                </a:rPr>
                <a:t>Interdisciplinary team</a:t>
              </a:r>
            </a:p>
            <a:p>
              <a:endParaRPr lang="en-US" sz="105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AE37307-EFA0-49CD-9F68-71C67974A913}"/>
              </a:ext>
            </a:extLst>
          </p:cNvPr>
          <p:cNvGrpSpPr/>
          <p:nvPr/>
        </p:nvGrpSpPr>
        <p:grpSpPr>
          <a:xfrm>
            <a:off x="3971329" y="1180282"/>
            <a:ext cx="2221707" cy="2308278"/>
            <a:chOff x="4003716" y="1180282"/>
            <a:chExt cx="2221707" cy="2308278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3720DA6-7426-4B7C-A8CC-744E1C954841}"/>
                </a:ext>
              </a:extLst>
            </p:cNvPr>
            <p:cNvSpPr txBox="1"/>
            <p:nvPr/>
          </p:nvSpPr>
          <p:spPr>
            <a:xfrm>
              <a:off x="4165652" y="1180282"/>
              <a:ext cx="1193006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latin typeface="Arial Black" panose="020B0A04020102020204" pitchFamily="34" charset="0"/>
                </a:rPr>
                <a:t>O2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0C4DA709-D232-4644-BA3C-AC42ECEB8963}"/>
                </a:ext>
              </a:extLst>
            </p:cNvPr>
            <p:cNvSpPr txBox="1"/>
            <p:nvPr/>
          </p:nvSpPr>
          <p:spPr>
            <a:xfrm>
              <a:off x="4003716" y="2057399"/>
              <a:ext cx="2221707" cy="143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/>
                <a:t>Why serverless</a:t>
              </a:r>
            </a:p>
            <a:p>
              <a:endParaRPr lang="en-GB"/>
            </a:p>
            <a:p>
              <a:endParaRPr lang="en-GB"/>
            </a:p>
            <a:p>
              <a:r>
                <a:rPr lang="en-GB" sz="1050"/>
                <a:t>Overview:</a:t>
              </a:r>
            </a:p>
            <a:p>
              <a:pPr marL="171450" indent="-171450">
                <a:buFontTx/>
                <a:buChar char="-"/>
              </a:pPr>
              <a:r>
                <a:rPr lang="en-GB" sz="1050"/>
                <a:t>Pros and Cons </a:t>
              </a:r>
            </a:p>
            <a:p>
              <a:pPr marL="171450" indent="-171450">
                <a:buFontTx/>
                <a:buChar char="-"/>
              </a:pPr>
              <a:r>
                <a:rPr lang="en-GB" sz="1050"/>
                <a:t>Popular platforms + frameworks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B2BDE9B-A969-4325-9062-F27B3F679DE3}"/>
              </a:ext>
            </a:extLst>
          </p:cNvPr>
          <p:cNvGrpSpPr/>
          <p:nvPr/>
        </p:nvGrpSpPr>
        <p:grpSpPr>
          <a:xfrm>
            <a:off x="6315075" y="1180282"/>
            <a:ext cx="2221706" cy="2793026"/>
            <a:chOff x="6315075" y="1180282"/>
            <a:chExt cx="2221706" cy="2793026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AF883563-83DD-4C41-8C7D-6E67FDA079AF}"/>
                </a:ext>
              </a:extLst>
            </p:cNvPr>
            <p:cNvSpPr txBox="1"/>
            <p:nvPr/>
          </p:nvSpPr>
          <p:spPr>
            <a:xfrm>
              <a:off x="6315076" y="1180282"/>
              <a:ext cx="84772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330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O3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23B41AE1-DD64-41F1-AD99-A8AF0C33A4A1}"/>
                </a:ext>
              </a:extLst>
            </p:cNvPr>
            <p:cNvSpPr txBox="1"/>
            <p:nvPr/>
          </p:nvSpPr>
          <p:spPr>
            <a:xfrm>
              <a:off x="6315075" y="2057399"/>
              <a:ext cx="2221706" cy="191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>
                  <a:solidFill>
                    <a:schemeClr val="bg1">
                      <a:lumMod val="50000"/>
                    </a:schemeClr>
                  </a:solidFill>
                </a:rPr>
                <a:t>Serverless R in Azure</a:t>
              </a: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endParaRPr lang="en-GB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Lots of options for: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Batch processing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Realtime processing</a:t>
              </a:r>
            </a:p>
            <a:p>
              <a:pPr marL="171450" indent="-171450">
                <a:buFontTx/>
                <a:buChar char="-"/>
              </a:pPr>
              <a:endParaRPr lang="en-GB" sz="1050">
                <a:solidFill>
                  <a:schemeClr val="bg1">
                    <a:lumMod val="50000"/>
                  </a:schemeClr>
                </a:solidFill>
              </a:endParaRPr>
            </a:p>
            <a:p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Case Studies: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U-SQL</a:t>
              </a:r>
            </a:p>
            <a:p>
              <a:pPr marL="171450" indent="-171450">
                <a:buFontTx/>
                <a:buChar char="-"/>
              </a:pPr>
              <a:r>
                <a:rPr lang="en-GB" sz="1050">
                  <a:solidFill>
                    <a:schemeClr val="bg1">
                      <a:lumMod val="50000"/>
                    </a:schemeClr>
                  </a:solidFill>
                </a:rPr>
                <a:t>Azure Functions</a:t>
              </a:r>
            </a:p>
          </p:txBody>
        </p:sp>
      </p:grpSp>
      <p:sp>
        <p:nvSpPr>
          <p:cNvPr id="19" name="Titel 4">
            <a:extLst>
              <a:ext uri="{FF2B5EF4-FFF2-40B4-BE49-F238E27FC236}">
                <a16:creationId xmlns:a16="http://schemas.microsoft.com/office/drawing/2014/main" id="{93A0F7C1-6269-4641-99E7-EF5300D84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687" y="279500"/>
            <a:ext cx="5413757" cy="312628"/>
          </a:xfrm>
        </p:spPr>
        <p:txBody>
          <a:bodyPr/>
          <a:lstStyle/>
          <a:p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6533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dirty="0" err="1"/>
              <a:t>Serverless</a:t>
            </a:r>
            <a:r>
              <a:rPr lang="de-AT" sz="1600" dirty="0"/>
              <a:t> </a:t>
            </a:r>
            <a:r>
              <a:rPr lang="de-AT" sz="1600" dirty="0" err="1"/>
              <a:t>has</a:t>
            </a:r>
            <a:r>
              <a:rPr lang="de-AT" sz="1600" dirty="0"/>
              <a:t> Servers, but </a:t>
            </a:r>
            <a:r>
              <a:rPr lang="de-AT" sz="1600" dirty="0" err="1"/>
              <a:t>we</a:t>
            </a:r>
            <a:r>
              <a:rPr lang="de-AT" sz="1600" dirty="0"/>
              <a:t> </a:t>
            </a:r>
            <a:r>
              <a:rPr lang="de-AT" sz="1600" dirty="0" err="1"/>
              <a:t>don‘t</a:t>
            </a:r>
            <a:r>
              <a:rPr lang="de-AT" sz="1600" dirty="0"/>
              <a:t> </a:t>
            </a:r>
            <a:r>
              <a:rPr lang="de-AT" sz="1600" dirty="0" err="1"/>
              <a:t>have</a:t>
            </a:r>
            <a:r>
              <a:rPr lang="de-AT" sz="1600" dirty="0"/>
              <a:t> </a:t>
            </a:r>
            <a:r>
              <a:rPr lang="de-AT" sz="1600" dirty="0" err="1"/>
              <a:t>to</a:t>
            </a:r>
            <a:r>
              <a:rPr lang="de-AT" sz="1600" dirty="0"/>
              <a:t> care</a:t>
            </a:r>
            <a:r>
              <a:rPr lang="de-AT" sz="1600"/>
              <a:t> </a:t>
            </a:r>
            <a:r>
              <a:rPr lang="de-AT" sz="1600">
                <a:sym typeface="Wingdings" panose="05000000000000000000" pitchFamily="2" charset="2"/>
              </a:rPr>
              <a:t></a:t>
            </a:r>
            <a:endParaRPr lang="en-AU" sz="1600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6C10CA-4865-4E69-9913-144CA7933C96}"/>
              </a:ext>
            </a:extLst>
          </p:cNvPr>
          <p:cNvSpPr txBox="1"/>
          <p:nvPr/>
        </p:nvSpPr>
        <p:spPr>
          <a:xfrm>
            <a:off x="2027776" y="1484868"/>
            <a:ext cx="5240845" cy="2031325"/>
          </a:xfrm>
          <a:prstGeom prst="wedgeRectCallout">
            <a:avLst>
              <a:gd name="adj1" fmla="val -40098"/>
              <a:gd name="adj2" fmla="val 61563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/>
              <a:t>Just like wireless internet has wires somewhere, serverless architectures still have servers somewhere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What ‘serverless’ really means is that, as a developer you don’t have to think about those servers. You just focus on code.</a:t>
            </a:r>
            <a:endParaRPr lang="de-AT" sz="1800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1318716-5927-4DA8-A877-1F280C619370}"/>
              </a:ext>
            </a:extLst>
          </p:cNvPr>
          <p:cNvSpPr txBox="1"/>
          <p:nvPr/>
        </p:nvSpPr>
        <p:spPr>
          <a:xfrm>
            <a:off x="1932528" y="3728669"/>
            <a:ext cx="11281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/>
              <a:t>serverless.com</a:t>
            </a:r>
          </a:p>
        </p:txBody>
      </p:sp>
    </p:spTree>
    <p:extLst>
      <p:ext uri="{BB962C8B-B14F-4D97-AF65-F5344CB8AC3E}">
        <p14:creationId xmlns:p14="http://schemas.microsoft.com/office/powerpoint/2010/main" val="970841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5">
            <a:extLst>
              <a:ext uri="{FF2B5EF4-FFF2-40B4-BE49-F238E27FC236}">
                <a16:creationId xmlns:a16="http://schemas.microsoft.com/office/drawing/2014/main" id="{ADC50D8E-9507-4319-9DB1-041128CAC99D}"/>
              </a:ext>
            </a:extLst>
          </p:cNvPr>
          <p:cNvSpPr txBox="1">
            <a:spLocks/>
          </p:cNvSpPr>
          <p:nvPr/>
        </p:nvSpPr>
        <p:spPr>
          <a:xfrm>
            <a:off x="395289" y="106503"/>
            <a:ext cx="7218342" cy="416837"/>
          </a:xfrm>
          <a:prstGeom prst="rect">
            <a:avLst/>
          </a:prstGeom>
        </p:spPr>
        <p:txBody>
          <a:bodyPr lIns="30679" tIns="0" rIns="77925" bIns="38963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/>
              <a:t>Why serverless</a:t>
            </a:r>
          </a:p>
        </p:txBody>
      </p:sp>
      <p:sp>
        <p:nvSpPr>
          <p:cNvPr id="30" name="Titel 5">
            <a:extLst>
              <a:ext uri="{FF2B5EF4-FFF2-40B4-BE49-F238E27FC236}">
                <a16:creationId xmlns:a16="http://schemas.microsoft.com/office/drawing/2014/main" id="{64B1802F-7242-48B9-959C-BF6DC1BEB06F}"/>
              </a:ext>
            </a:extLst>
          </p:cNvPr>
          <p:cNvSpPr txBox="1">
            <a:spLocks/>
          </p:cNvSpPr>
          <p:nvPr/>
        </p:nvSpPr>
        <p:spPr>
          <a:xfrm>
            <a:off x="395289" y="372666"/>
            <a:ext cx="7218342" cy="416837"/>
          </a:xfrm>
          <a:prstGeom prst="rect">
            <a:avLst/>
          </a:prstGeom>
        </p:spPr>
        <p:txBody>
          <a:bodyPr lIns="36000" tIns="0" anchor="b" anchorCtr="0">
            <a:noAutofit/>
          </a:bodyPr>
          <a:lstStyle>
            <a:lvl1pPr algn="l" defTabSz="38962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650" b="0" kern="1200" cap="all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1600" dirty="0"/>
              <a:t>The </a:t>
            </a:r>
            <a:r>
              <a:rPr lang="de-AT" sz="1600" dirty="0" err="1"/>
              <a:t>Promise</a:t>
            </a:r>
            <a:r>
              <a:rPr lang="de-AT" sz="1600" dirty="0"/>
              <a:t>: Focus on Coding, not </a:t>
            </a:r>
            <a:r>
              <a:rPr lang="en-AU" sz="1600" dirty="0"/>
              <a:t>maintenance</a:t>
            </a:r>
            <a:endParaRPr lang="en-AU" sz="1600" b="1" dirty="0"/>
          </a:p>
        </p:txBody>
      </p:sp>
      <p:pic>
        <p:nvPicPr>
          <p:cNvPr id="5" name="Grafik 4" descr="Stoppuhr">
            <a:extLst>
              <a:ext uri="{FF2B5EF4-FFF2-40B4-BE49-F238E27FC236}">
                <a16:creationId xmlns:a16="http://schemas.microsoft.com/office/drawing/2014/main" id="{67FE8F46-49EA-4634-A099-ED5E59F2C5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4812" y="1632629"/>
            <a:ext cx="914400" cy="914400"/>
          </a:xfrm>
          <a:prstGeom prst="rect">
            <a:avLst/>
          </a:prstGeom>
        </p:spPr>
      </p:pic>
      <p:pic>
        <p:nvPicPr>
          <p:cNvPr id="7" name="Grafik 6" descr="Rakete">
            <a:extLst>
              <a:ext uri="{FF2B5EF4-FFF2-40B4-BE49-F238E27FC236}">
                <a16:creationId xmlns:a16="http://schemas.microsoft.com/office/drawing/2014/main" id="{7C277AE5-D2B6-484D-92C4-6C732BF765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41352" y="1632629"/>
            <a:ext cx="914400" cy="914400"/>
          </a:xfrm>
          <a:prstGeom prst="rect">
            <a:avLst/>
          </a:prstGeom>
        </p:spPr>
      </p:pic>
      <p:pic>
        <p:nvPicPr>
          <p:cNvPr id="11" name="Grafik 10" descr="Hierarchie">
            <a:extLst>
              <a:ext uri="{FF2B5EF4-FFF2-40B4-BE49-F238E27FC236}">
                <a16:creationId xmlns:a16="http://schemas.microsoft.com/office/drawing/2014/main" id="{678876D2-EB34-4D85-A58D-538D04517E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2934873" y="1632629"/>
            <a:ext cx="914400" cy="914400"/>
          </a:xfrm>
          <a:prstGeom prst="rect">
            <a:avLst/>
          </a:prstGeom>
        </p:spPr>
      </p:pic>
      <p:pic>
        <p:nvPicPr>
          <p:cNvPr id="13" name="Grafik 12" descr="Ein/Aus">
            <a:extLst>
              <a:ext uri="{FF2B5EF4-FFF2-40B4-BE49-F238E27FC236}">
                <a16:creationId xmlns:a16="http://schemas.microsoft.com/office/drawing/2014/main" id="{06E9268F-6DC6-401E-8FE9-70E437C0AE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9010" y="1632629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090D10A2-0C6F-40F8-80BF-CF29E96337FE}"/>
              </a:ext>
            </a:extLst>
          </p:cNvPr>
          <p:cNvSpPr txBox="1"/>
          <p:nvPr/>
        </p:nvSpPr>
        <p:spPr>
          <a:xfrm>
            <a:off x="395289" y="2596012"/>
            <a:ext cx="18418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 administration</a:t>
            </a:r>
            <a:endParaRPr lang="en-AU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A53441B-0C76-4BB0-B3F4-905EB6B75DA5}"/>
              </a:ext>
            </a:extLst>
          </p:cNvPr>
          <p:cNvSpPr txBox="1"/>
          <p:nvPr/>
        </p:nvSpPr>
        <p:spPr>
          <a:xfrm>
            <a:off x="2564141" y="2596012"/>
            <a:ext cx="18418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solidFill>
                  <a:schemeClr val="tx1">
                    <a:lumMod val="65000"/>
                    <a:lumOff val="35000"/>
                  </a:schemeClr>
                </a:solidFill>
              </a:rPr>
              <a:t>Scale on demand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4E0076C-507E-4E8D-BD64-DE9D7CF233BE}"/>
              </a:ext>
            </a:extLst>
          </p:cNvPr>
          <p:cNvSpPr txBox="1"/>
          <p:nvPr/>
        </p:nvSpPr>
        <p:spPr>
          <a:xfrm>
            <a:off x="4831091" y="2596012"/>
            <a:ext cx="18418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solidFill>
                  <a:schemeClr val="tx1">
                    <a:lumMod val="65000"/>
                    <a:lumOff val="35000"/>
                  </a:schemeClr>
                </a:solidFill>
              </a:rPr>
              <a:t>Pay-per-us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359264B-2730-4E56-851B-98D2F06E1004}"/>
              </a:ext>
            </a:extLst>
          </p:cNvPr>
          <p:cNvSpPr txBox="1"/>
          <p:nvPr/>
        </p:nvSpPr>
        <p:spPr>
          <a:xfrm>
            <a:off x="6901846" y="2596012"/>
            <a:ext cx="18418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>
                <a:solidFill>
                  <a:schemeClr val="tx1">
                    <a:lumMod val="65000"/>
                    <a:lumOff val="35000"/>
                  </a:schemeClr>
                </a:solidFill>
              </a:rPr>
              <a:t>Faster turnaround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CBD618D-9D4E-4716-9296-F732B9CB81C6}"/>
              </a:ext>
            </a:extLst>
          </p:cNvPr>
          <p:cNvSpPr txBox="1"/>
          <p:nvPr/>
        </p:nvSpPr>
        <p:spPr>
          <a:xfrm>
            <a:off x="395289" y="2901375"/>
            <a:ext cx="19937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/>
              <a:t>No server provisioning and maintenance is necessary. Hardware and OS are abstracted away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7CFF-BE40-4A78-9D78-AE2B1993D12A}"/>
              </a:ext>
            </a:extLst>
          </p:cNvPr>
          <p:cNvSpPr txBox="1"/>
          <p:nvPr/>
        </p:nvSpPr>
        <p:spPr>
          <a:xfrm>
            <a:off x="2577655" y="2901375"/>
            <a:ext cx="199374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/>
              <a:t>Scaling is automatic and part of the service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3801FE4-F560-47F7-AE08-A83D07035918}"/>
              </a:ext>
            </a:extLst>
          </p:cNvPr>
          <p:cNvSpPr txBox="1"/>
          <p:nvPr/>
        </p:nvSpPr>
        <p:spPr>
          <a:xfrm>
            <a:off x="4831091" y="2901375"/>
            <a:ext cx="199374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/>
              <a:t>Billing is based on actual compute resources used. No compute used, no costs.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CEB7A46-9A7C-4846-A91F-8A7584C46F18}"/>
              </a:ext>
            </a:extLst>
          </p:cNvPr>
          <p:cNvSpPr txBox="1"/>
          <p:nvPr/>
        </p:nvSpPr>
        <p:spPr>
          <a:xfrm>
            <a:off x="6901681" y="2926096"/>
            <a:ext cx="19937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50" dirty="0"/>
              <a:t>No server provisioning and maintenance is necessary. Hardware and OS are abstracted away</a:t>
            </a:r>
          </a:p>
        </p:txBody>
      </p:sp>
    </p:spTree>
    <p:extLst>
      <p:ext uri="{BB962C8B-B14F-4D97-AF65-F5344CB8AC3E}">
        <p14:creationId xmlns:p14="http://schemas.microsoft.com/office/powerpoint/2010/main" val="625115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FuSXpcwkW05vfbWxxG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6ygedMwkay7e6ikn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4_Post_Baseform_16:9">
  <a:themeElements>
    <a:clrScheme name="POST neue CI">
      <a:dk1>
        <a:srgbClr val="000000"/>
      </a:dk1>
      <a:lt1>
        <a:srgbClr val="FFFFFF"/>
      </a:lt1>
      <a:dk2>
        <a:srgbClr val="F5E209"/>
      </a:dk2>
      <a:lt2>
        <a:srgbClr val="FBF17F"/>
      </a:lt2>
      <a:accent1>
        <a:srgbClr val="FDF8BF"/>
      </a:accent1>
      <a:accent2>
        <a:srgbClr val="1687AF"/>
      </a:accent2>
      <a:accent3>
        <a:srgbClr val="8AC3D7"/>
      </a:accent3>
      <a:accent4>
        <a:srgbClr val="3B3B3B"/>
      </a:accent4>
      <a:accent5>
        <a:srgbClr val="6C6C6C"/>
      </a:accent5>
      <a:accent6>
        <a:srgbClr val="B2B2B2"/>
      </a:accent6>
      <a:hlink>
        <a:srgbClr val="1687AF"/>
      </a:hlink>
      <a:folHlink>
        <a:srgbClr val="8AC3D7"/>
      </a:folHlink>
    </a:clrScheme>
    <a:fontScheme name="Essenz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pFill/>
        <a:ln>
          <a:noFill/>
        </a:ln>
        <a:effectLst/>
        <a:extLst>
          <a:ext uri="{91240B29-F687-4F45-9708-019B960494DF}">
            <a14:hiddenLine xmlns:a14="http://schemas.microsoft.com/office/drawing/2010/main" w="9525" cap="flat">
              <a:solidFill>
                <a:srgbClr val="808080"/>
              </a:solidFill>
              <a:bevel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wrap="none" anchor="ctr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ost_PPT_Vorlage-2014_16zu9_inkl. Musterseiten [Schreibgeschützt]" id="{9C0B8543-80F8-4664-A5A3-BD2DE52233D4}" vid="{E1FAA384-3729-4B37-8344-873CF86D8E38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PowerPoint 2010 Baseform Post AG">
    <a:dk1>
      <a:srgbClr val="000000"/>
    </a:dk1>
    <a:lt1>
      <a:srgbClr val="FFFFFF"/>
    </a:lt1>
    <a:dk2>
      <a:srgbClr val="8B8B8B"/>
    </a:dk2>
    <a:lt2>
      <a:srgbClr val="595959"/>
    </a:lt2>
    <a:accent1>
      <a:srgbClr val="C2C2C2"/>
    </a:accent1>
    <a:accent2>
      <a:srgbClr val="F7E400"/>
    </a:accent2>
    <a:accent3>
      <a:srgbClr val="FBF27D"/>
    </a:accent3>
    <a:accent4>
      <a:srgbClr val="FDF9C2"/>
    </a:accent4>
    <a:accent5>
      <a:srgbClr val="FFC900"/>
    </a:accent5>
    <a:accent6>
      <a:srgbClr val="FFA500"/>
    </a:accent6>
    <a:hlink>
      <a:srgbClr val="D10019"/>
    </a:hlink>
    <a:folHlink>
      <a:srgbClr val="3A536E"/>
    </a:folHlink>
  </a:clrScheme>
  <a:fontScheme name="Master mit Testimon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56D9C974C55B4F83DE8F30B4CBA360" ma:contentTypeVersion="7" ma:contentTypeDescription="Ein neues Dokument erstellen." ma:contentTypeScope="" ma:versionID="767723bb67842ee9dadebc961fa68a48">
  <xsd:schema xmlns:xsd="http://www.w3.org/2001/XMLSchema" xmlns:xs="http://www.w3.org/2001/XMLSchema" xmlns:p="http://schemas.microsoft.com/office/2006/metadata/properties" xmlns:ns2="8aa7f988-1b04-4fee-baf1-631f79bb37ae" xmlns:ns3="62232284-50b2-4b79-b734-a6c535636d3f" targetNamespace="http://schemas.microsoft.com/office/2006/metadata/properties" ma:root="true" ma:fieldsID="71b0a77bd6caa0e4e436408049bfcc43" ns2:_="" ns3:_="">
    <xsd:import namespace="8aa7f988-1b04-4fee-baf1-631f79bb37ae"/>
    <xsd:import namespace="62232284-50b2-4b79-b734-a6c535636d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a7f988-1b04-4fee-baf1-631f79bb37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232284-50b2-4b79-b734-a6c535636d3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A8EC335-EC12-4178-B3C0-E64B3DACE9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a7f988-1b04-4fee-baf1-631f79bb37ae"/>
    <ds:schemaRef ds:uri="62232284-50b2-4b79-b734-a6c535636d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03EF99-61B5-4279-9A85-0541E24E4F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1E65CA-4E38-4681-9AD4-0FCA88246506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8aa7f988-1b04-4fee-baf1-631f79bb37ae"/>
    <ds:schemaRef ds:uri="http://purl.org/dc/terms/"/>
    <ds:schemaRef ds:uri="62232284-50b2-4b79-b734-a6c535636d3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st_PPT_Vorlage-2014_16zu9</Template>
  <TotalTime>0</TotalTime>
  <Words>983</Words>
  <Application>Microsoft Office PowerPoint</Application>
  <PresentationFormat>Bildschirmpräsentation (16:9)</PresentationFormat>
  <Paragraphs>320</Paragraphs>
  <Slides>21</Slides>
  <Notes>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9" baseType="lpstr">
      <vt:lpstr>Arial</vt:lpstr>
      <vt:lpstr>Arial Black</vt:lpstr>
      <vt:lpstr>Calibri</vt:lpstr>
      <vt:lpstr>Cambria Math</vt:lpstr>
      <vt:lpstr>GB18030 Bitmap</vt:lpstr>
      <vt:lpstr>Wingdings</vt:lpstr>
      <vt:lpstr>2014_Post_Baseform_16:9</vt:lpstr>
      <vt:lpstr>think-cell Folie</vt:lpstr>
      <vt:lpstr>PowerPoint-Präsentation</vt:lpstr>
      <vt:lpstr>Agenda</vt:lpstr>
      <vt:lpstr>Agenda</vt:lpstr>
      <vt:lpstr>PowerPoint-Präsentation</vt:lpstr>
      <vt:lpstr>PowerPoint-Präsentation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ODNER Christoph</dc:creator>
  <cp:lastModifiedBy>BODNER Christoph</cp:lastModifiedBy>
  <cp:revision>1</cp:revision>
  <cp:lastPrinted>2014-11-18T15:39:22Z</cp:lastPrinted>
  <dcterms:created xsi:type="dcterms:W3CDTF">2017-11-02T08:38:53Z</dcterms:created>
  <dcterms:modified xsi:type="dcterms:W3CDTF">2018-10-09T15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56D9C974C55B4F83DE8F30B4CBA360</vt:lpwstr>
  </property>
</Properties>
</file>